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1" r:id="rId5"/>
  </p:sldMasterIdLst>
  <p:notesMasterIdLst>
    <p:notesMasterId r:id="rId9"/>
  </p:notesMasterIdLst>
  <p:sldIdLst>
    <p:sldId id="260" r:id="rId6"/>
    <p:sldId id="2147481650" r:id="rId7"/>
    <p:sldId id="266"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991" autoAdjust="0"/>
    <p:restoredTop sz="94658"/>
  </p:normalViewPr>
  <p:slideViewPr>
    <p:cSldViewPr snapToGrid="0">
      <p:cViewPr varScale="1">
        <p:scale>
          <a:sx n="106" d="100"/>
          <a:sy n="106" d="100"/>
        </p:scale>
        <p:origin x="1248" y="48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2557B79-74CA-4995-9DCF-617430412FCF}" type="datetimeFigureOut">
              <a:rPr lang="en-US" smtClean="0"/>
              <a:t>4/9/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859B3FF-D925-413A-9CF8-481DAA42A2DF}" type="slidenum">
              <a:rPr lang="en-US" smtClean="0"/>
              <a:t>‹#›</a:t>
            </a:fld>
            <a:endParaRPr lang="en-US"/>
          </a:p>
        </p:txBody>
      </p:sp>
    </p:spTree>
    <p:extLst>
      <p:ext uri="{BB962C8B-B14F-4D97-AF65-F5344CB8AC3E}">
        <p14:creationId xmlns:p14="http://schemas.microsoft.com/office/powerpoint/2010/main" val="28868778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4675" y="1069975"/>
            <a:ext cx="5137150" cy="2890838"/>
          </a:xfrm>
        </p:spPr>
      </p:sp>
      <p:sp>
        <p:nvSpPr>
          <p:cNvPr id="3" name="Notes Placeholder 2"/>
          <p:cNvSpPr>
            <a:spLocks noGrp="1"/>
          </p:cNvSpPr>
          <p:nvPr>
            <p:ph type="body" idx="1"/>
          </p:nvPr>
        </p:nvSpPr>
        <p:spPr/>
        <p:txBody>
          <a:bodyPr/>
          <a:lstStyle/>
          <a:p>
            <a:pPr defTabSz="1038506">
              <a:spcAft>
                <a:spcPts val="1113"/>
              </a:spcAft>
            </a:pPr>
            <a:r>
              <a:rPr lang="en-US" sz="1700" dirty="0"/>
              <a:t>Windows 11 Pro provides multilayered protection to help protect your data, your employees, and your apps against common security threats. This is the most secure version of Windows to date, with hardware-backed protection built in and enabled by default. Of course, what really matters are results. According to a </a:t>
            </a:r>
            <a:r>
              <a:rPr lang="en-US" sz="1700" dirty="0" err="1"/>
              <a:t>Techaisle</a:t>
            </a:r>
            <a:r>
              <a:rPr lang="en-US" sz="1700" dirty="0"/>
              <a:t> survey, users experienced 58 percent drop in security incidents using Windows 11 devices. </a:t>
            </a:r>
          </a:p>
          <a:p>
            <a:pPr defTabSz="1038506">
              <a:spcAft>
                <a:spcPts val="1113"/>
              </a:spcAft>
            </a:pPr>
            <a:endParaRPr lang="en-US" sz="1700" dirty="0"/>
          </a:p>
          <a:p>
            <a:pPr defTabSz="1038506">
              <a:spcAft>
                <a:spcPts val="1113"/>
              </a:spcAft>
            </a:pPr>
            <a:r>
              <a:rPr lang="en-US" sz="1700" dirty="0"/>
              <a:t>We’re just getting started, however. Windows 11 Pro is also designed to optimize productivity for employees throughout your organization, with intuitive experiences and improved performance. The 99.7 percent app compatibility rate means your business applications, run as expected, and so will your printers and other hardware. Plus, a Forrester Consulting study found that Windows 11 can increase employee productivity more than 15 percent!</a:t>
            </a:r>
          </a:p>
          <a:p>
            <a:pPr defTabSz="1038506">
              <a:spcAft>
                <a:spcPts val="1113"/>
              </a:spcAft>
            </a:pPr>
            <a:endParaRPr lang="en-US" sz="1700" dirty="0"/>
          </a:p>
          <a:p>
            <a:pPr>
              <a:defRPr/>
            </a:pPr>
            <a:r>
              <a:rPr lang="en-US" sz="1700" dirty="0"/>
              <a:t>Windows 11 Pro devices give you the flexibility to work your way, with support for multiple 4K monitors and a range of input options including pen, ink, touch, and voice. Plus, Windows 11 Pro devices support high-quality cameras and microphones, to look and sound your best.</a:t>
            </a:r>
          </a:p>
          <a:p>
            <a:endParaRPr lang="en-US" sz="1700" dirty="0"/>
          </a:p>
          <a:p>
            <a:r>
              <a:rPr lang="en-US" sz="1700" dirty="0"/>
              <a:t>The best part? ROI. According to a Forrester Consulting, organizations can get up to a 250 percent return on investment and payback in less than six months due to factors like tighter security, faster deployment, and fewer help desk tickets being filed. With Windows 11 Pro, you get greater security, productivity, and flexibility. That’s why 90 percent of the Fortune 500 are trialing or using Windows 11 Pro now.</a:t>
            </a:r>
          </a:p>
        </p:txBody>
      </p:sp>
      <p:sp>
        <p:nvSpPr>
          <p:cNvPr id="4" name="Slide Number Placeholder 3"/>
          <p:cNvSpPr>
            <a:spLocks noGrp="1"/>
          </p:cNvSpPr>
          <p:nvPr>
            <p:ph type="sldNum" sz="quarter" idx="5"/>
          </p:nvPr>
        </p:nvSpPr>
        <p:spPr/>
        <p:txBody>
          <a:bodyPr/>
          <a:lstStyle/>
          <a:p>
            <a:pPr marL="0" marR="0" lvl="0" indent="0" algn="r" defTabSz="1018166" rtl="0" eaLnBrk="1" fontAlgn="auto" latinLnBrk="0" hangingPunct="1">
              <a:lnSpc>
                <a:spcPct val="100000"/>
              </a:lnSpc>
              <a:spcBef>
                <a:spcPts val="0"/>
              </a:spcBef>
              <a:spcAft>
                <a:spcPts val="0"/>
              </a:spcAft>
              <a:buClrTx/>
              <a:buSzTx/>
              <a:buFontTx/>
              <a:buNone/>
              <a:tabLst/>
              <a:defRPr/>
            </a:pPr>
            <a:fld id="{948E047E-04B1-437D-B5DE-279CE8720A70}"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018166"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986344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2.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0.xml"/><Relationship Id="rId5" Type="http://schemas.openxmlformats.org/officeDocument/2006/relationships/image" Target="../media/image4.png"/><Relationship Id="rId4" Type="http://schemas.openxmlformats.org/officeDocument/2006/relationships/image" Target="../media/image2.emf"/></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 Id="rId5" Type="http://schemas.openxmlformats.org/officeDocument/2006/relationships/image" Target="../media/image8.png"/><Relationship Id="rId4" Type="http://schemas.microsoft.com/office/2007/relationships/hdphoto" Target="../media/hdphoto1.wdp"/></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4B873-0FF4-B61B-CE4A-64D44A93EF2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0DE97E3-B509-82C8-14A1-C25104EA60C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C6F12BE-AF7A-F841-3467-3AA52515A9E3}"/>
              </a:ext>
            </a:extLst>
          </p:cNvPr>
          <p:cNvSpPr>
            <a:spLocks noGrp="1"/>
          </p:cNvSpPr>
          <p:nvPr>
            <p:ph type="dt" sz="half" idx="10"/>
          </p:nvPr>
        </p:nvSpPr>
        <p:spPr/>
        <p:txBody>
          <a:bodyPr/>
          <a:lstStyle/>
          <a:p>
            <a:fld id="{2010D01F-1BC2-4E69-9F2A-DDC2A48BBAEC}" type="datetimeFigureOut">
              <a:rPr lang="en-US" smtClean="0"/>
              <a:t>4/9/2025</a:t>
            </a:fld>
            <a:endParaRPr lang="en-US"/>
          </a:p>
        </p:txBody>
      </p:sp>
      <p:sp>
        <p:nvSpPr>
          <p:cNvPr id="5" name="Footer Placeholder 4">
            <a:extLst>
              <a:ext uri="{FF2B5EF4-FFF2-40B4-BE49-F238E27FC236}">
                <a16:creationId xmlns:a16="http://schemas.microsoft.com/office/drawing/2014/main" id="{DA564AEA-234C-9E73-7AC7-484A5533A5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BF2FF7-735B-FCDB-227C-F20DE4A2AF84}"/>
              </a:ext>
            </a:extLst>
          </p:cNvPr>
          <p:cNvSpPr>
            <a:spLocks noGrp="1"/>
          </p:cNvSpPr>
          <p:nvPr>
            <p:ph type="sldNum" sz="quarter" idx="12"/>
          </p:nvPr>
        </p:nvSpPr>
        <p:spPr/>
        <p:txBody>
          <a:bodyPr/>
          <a:lstStyle/>
          <a:p>
            <a:fld id="{90623A98-DEB9-4ABD-BEA8-088375254FC1}" type="slidenum">
              <a:rPr lang="en-US" smtClean="0"/>
              <a:t>‹#›</a:t>
            </a:fld>
            <a:endParaRPr lang="en-US"/>
          </a:p>
        </p:txBody>
      </p:sp>
    </p:spTree>
    <p:extLst>
      <p:ext uri="{BB962C8B-B14F-4D97-AF65-F5344CB8AC3E}">
        <p14:creationId xmlns:p14="http://schemas.microsoft.com/office/powerpoint/2010/main" val="16579152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39040-04DB-C09E-BCF7-E0A6F3620E6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589698A-3C44-2991-7B04-E7633EF818C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06D0B24-3080-6070-8BD9-222D9937A300}"/>
              </a:ext>
            </a:extLst>
          </p:cNvPr>
          <p:cNvSpPr>
            <a:spLocks noGrp="1"/>
          </p:cNvSpPr>
          <p:nvPr>
            <p:ph type="dt" sz="half" idx="10"/>
          </p:nvPr>
        </p:nvSpPr>
        <p:spPr/>
        <p:txBody>
          <a:bodyPr/>
          <a:lstStyle/>
          <a:p>
            <a:fld id="{2010D01F-1BC2-4E69-9F2A-DDC2A48BBAEC}" type="datetimeFigureOut">
              <a:rPr lang="en-US" smtClean="0"/>
              <a:t>4/9/2025</a:t>
            </a:fld>
            <a:endParaRPr lang="en-US"/>
          </a:p>
        </p:txBody>
      </p:sp>
      <p:sp>
        <p:nvSpPr>
          <p:cNvPr id="5" name="Footer Placeholder 4">
            <a:extLst>
              <a:ext uri="{FF2B5EF4-FFF2-40B4-BE49-F238E27FC236}">
                <a16:creationId xmlns:a16="http://schemas.microsoft.com/office/drawing/2014/main" id="{6D31251C-13E5-5EC5-94FC-60E7F8CDB3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5F3558-7DF1-156A-0245-49BC6629BC4A}"/>
              </a:ext>
            </a:extLst>
          </p:cNvPr>
          <p:cNvSpPr>
            <a:spLocks noGrp="1"/>
          </p:cNvSpPr>
          <p:nvPr>
            <p:ph type="sldNum" sz="quarter" idx="12"/>
          </p:nvPr>
        </p:nvSpPr>
        <p:spPr/>
        <p:txBody>
          <a:bodyPr/>
          <a:lstStyle/>
          <a:p>
            <a:fld id="{90623A98-DEB9-4ABD-BEA8-088375254FC1}" type="slidenum">
              <a:rPr lang="en-US" smtClean="0"/>
              <a:t>‹#›</a:t>
            </a:fld>
            <a:endParaRPr lang="en-US"/>
          </a:p>
        </p:txBody>
      </p:sp>
    </p:spTree>
    <p:extLst>
      <p:ext uri="{BB962C8B-B14F-4D97-AF65-F5344CB8AC3E}">
        <p14:creationId xmlns:p14="http://schemas.microsoft.com/office/powerpoint/2010/main" val="11310165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B5DCACC-5F8A-BED9-564C-FC740DE50D5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CC7DD39-4CD1-C3A8-9C44-6652527CB67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CB9070-658A-0036-F492-211CD17F3FA1}"/>
              </a:ext>
            </a:extLst>
          </p:cNvPr>
          <p:cNvSpPr>
            <a:spLocks noGrp="1"/>
          </p:cNvSpPr>
          <p:nvPr>
            <p:ph type="dt" sz="half" idx="10"/>
          </p:nvPr>
        </p:nvSpPr>
        <p:spPr/>
        <p:txBody>
          <a:bodyPr/>
          <a:lstStyle/>
          <a:p>
            <a:fld id="{2010D01F-1BC2-4E69-9F2A-DDC2A48BBAEC}" type="datetimeFigureOut">
              <a:rPr lang="en-US" smtClean="0"/>
              <a:t>4/9/2025</a:t>
            </a:fld>
            <a:endParaRPr lang="en-US"/>
          </a:p>
        </p:txBody>
      </p:sp>
      <p:sp>
        <p:nvSpPr>
          <p:cNvPr id="5" name="Footer Placeholder 4">
            <a:extLst>
              <a:ext uri="{FF2B5EF4-FFF2-40B4-BE49-F238E27FC236}">
                <a16:creationId xmlns:a16="http://schemas.microsoft.com/office/drawing/2014/main" id="{32EE41D4-27AA-DEC2-B173-20ABC21999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795718F-F51B-31C9-7FEB-06017470E13F}"/>
              </a:ext>
            </a:extLst>
          </p:cNvPr>
          <p:cNvSpPr>
            <a:spLocks noGrp="1"/>
          </p:cNvSpPr>
          <p:nvPr>
            <p:ph type="sldNum" sz="quarter" idx="12"/>
          </p:nvPr>
        </p:nvSpPr>
        <p:spPr/>
        <p:txBody>
          <a:bodyPr/>
          <a:lstStyle/>
          <a:p>
            <a:fld id="{90623A98-DEB9-4ABD-BEA8-088375254FC1}" type="slidenum">
              <a:rPr lang="en-US" smtClean="0"/>
              <a:t>‹#›</a:t>
            </a:fld>
            <a:endParaRPr lang="en-US"/>
          </a:p>
        </p:txBody>
      </p:sp>
    </p:spTree>
    <p:extLst>
      <p:ext uri="{BB962C8B-B14F-4D97-AF65-F5344CB8AC3E}">
        <p14:creationId xmlns:p14="http://schemas.microsoft.com/office/powerpoint/2010/main" val="24439122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1">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0120FA5-7267-7FCE-41A7-BDE4A0C66F82}"/>
              </a:ext>
            </a:extLst>
          </p:cNvPr>
          <p:cNvGraphicFramePr>
            <a:graphicFrameLocks noChangeAspect="1"/>
          </p:cNvGraphicFramePr>
          <p:nvPr userDrawn="1">
            <p:custDataLst>
              <p:tags r:id="rId1"/>
            </p:custDataLst>
            <p:extLst>
              <p:ext uri="{D42A27DB-BD31-4B8C-83A1-F6EECF244321}">
                <p14:modId xmlns:p14="http://schemas.microsoft.com/office/powerpoint/2010/main" val="25317394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think-cell data - do not delete" hidden="1">
                        <a:extLst>
                          <a:ext uri="{FF2B5EF4-FFF2-40B4-BE49-F238E27FC236}">
                            <a16:creationId xmlns:a16="http://schemas.microsoft.com/office/drawing/2014/main" id="{90120FA5-7267-7FCE-41A7-BDE4A0C66F8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Tree>
    <p:extLst>
      <p:ext uri="{BB962C8B-B14F-4D97-AF65-F5344CB8AC3E}">
        <p14:creationId xmlns:p14="http://schemas.microsoft.com/office/powerpoint/2010/main" val="1996000746"/>
      </p:ext>
    </p:extLst>
  </p:cSld>
  <p:clrMapOvr>
    <a:masterClrMapping/>
  </p:clrMapOvr>
  <p:transition>
    <p:fade/>
  </p:transition>
  <p:extLst>
    <p:ext uri="{DCECCB84-F9BA-43D5-87BE-67443E8EF086}">
      <p15:sldGuideLst xmlns:p15="http://schemas.microsoft.com/office/powerpoint/2012/main">
        <p15:guide id="13" pos="2744">
          <p15:clr>
            <a:srgbClr val="A4A3A4"/>
          </p15:clr>
        </p15:guide>
        <p15:guide id="18" pos="4343">
          <p15:clr>
            <a:srgbClr val="A4A3A4"/>
          </p15:clr>
        </p15:guide>
        <p15:guide id="20" pos="4937">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Only">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0120FA5-7267-7FCE-41A7-BDE4A0C66F82}"/>
              </a:ext>
            </a:extLst>
          </p:cNvPr>
          <p:cNvGraphicFramePr>
            <a:graphicFrameLocks noChangeAspect="1"/>
          </p:cNvGraphicFramePr>
          <p:nvPr userDrawn="1">
            <p:custDataLst>
              <p:tags r:id="rId1"/>
            </p:custDataLst>
            <p:extLst>
              <p:ext uri="{D42A27DB-BD31-4B8C-83A1-F6EECF244321}">
                <p14:modId xmlns:p14="http://schemas.microsoft.com/office/powerpoint/2010/main" val="23717862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think-cell data - do not delete" hidden="1">
                        <a:extLst>
                          <a:ext uri="{FF2B5EF4-FFF2-40B4-BE49-F238E27FC236}">
                            <a16:creationId xmlns:a16="http://schemas.microsoft.com/office/drawing/2014/main" id="{90120FA5-7267-7FCE-41A7-BDE4A0C66F8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BCCD6A65-60BD-DC48-204C-F9532BF58A98}"/>
              </a:ext>
            </a:extLst>
          </p:cNvPr>
          <p:cNvSpPr>
            <a:spLocks noGrp="1"/>
          </p:cNvSpPr>
          <p:nvPr>
            <p:ph type="title"/>
          </p:nvPr>
        </p:nvSpPr>
        <p:spPr>
          <a:xfrm>
            <a:off x="609600" y="431801"/>
            <a:ext cx="10972800" cy="553998"/>
          </a:xfrm>
          <a:prstGeom prst="rect">
            <a:avLst/>
          </a:prstGeom>
        </p:spPr>
        <p:txBody>
          <a:bodyPr vert="horz" wrap="square" lIns="0" tIns="0" rIns="0" bIns="0">
            <a:spAutoFit/>
          </a:bodyPr>
          <a:lstStyle>
            <a:lvl1pPr>
              <a:spcBef>
                <a:spcPts val="0"/>
              </a:spcBef>
              <a:defRPr kumimoji="0" lang="en-IN" sz="3600" b="0" i="0" u="none" strike="noStrike" kern="1200" cap="none" spc="0" normalizeH="0" baseline="0" dirty="0">
                <a:ln>
                  <a:noFill/>
                </a:ln>
                <a:gradFill>
                  <a:gsLst>
                    <a:gs pos="90000">
                      <a:srgbClr val="002C8F"/>
                    </a:gs>
                    <a:gs pos="10000">
                      <a:srgbClr val="0695D1"/>
                    </a:gs>
                  </a:gsLst>
                  <a:path path="circle">
                    <a:fillToRect l="100000" t="100000"/>
                  </a:path>
                </a:gradFill>
                <a:effectLst/>
                <a:uLnTx/>
                <a:uFillTx/>
                <a:latin typeface="+mj-lt"/>
                <a:ea typeface="+mn-ea"/>
                <a:cs typeface="Segoe UI Semibold" panose="020B0502040204020203" pitchFamily="34" charset="0"/>
              </a:defRPr>
            </a:lvl1pPr>
          </a:lstStyle>
          <a:p>
            <a:pPr marL="0" marR="0" lvl="0" indent="0" algn="l" defTabSz="914340" rtl="0" eaLnBrk="1" fontAlgn="auto" latinLnBrk="0" hangingPunct="1">
              <a:lnSpc>
                <a:spcPct val="100000"/>
              </a:lnSpc>
              <a:spcBef>
                <a:spcPts val="600"/>
              </a:spcBef>
              <a:spcAft>
                <a:spcPts val="0"/>
              </a:spcAft>
              <a:buClrTx/>
              <a:buSzTx/>
              <a:buFontTx/>
              <a:buNone/>
              <a:tabLst/>
              <a:defRPr/>
            </a:pPr>
            <a:r>
              <a:rPr lang="en-US"/>
              <a:t>Click to edit Master title style</a:t>
            </a:r>
            <a:endParaRPr lang="en-IN"/>
          </a:p>
        </p:txBody>
      </p:sp>
    </p:spTree>
    <p:extLst>
      <p:ext uri="{BB962C8B-B14F-4D97-AF65-F5344CB8AC3E}">
        <p14:creationId xmlns:p14="http://schemas.microsoft.com/office/powerpoint/2010/main" val="1683168108"/>
      </p:ext>
    </p:extLst>
  </p:cSld>
  <p:clrMapOvr>
    <a:masterClrMapping/>
  </p:clrMapOvr>
  <p:transition>
    <p:fade/>
  </p:transition>
  <p:extLst>
    <p:ext uri="{DCECCB84-F9BA-43D5-87BE-67443E8EF086}">
      <p15:sldGuideLst xmlns:p15="http://schemas.microsoft.com/office/powerpoint/2012/main">
        <p15:guide id="13" pos="2744">
          <p15:clr>
            <a:srgbClr val="A4A3A4"/>
          </p15:clr>
        </p15:guide>
        <p15:guide id="18" pos="4343">
          <p15:clr>
            <a:srgbClr val="A4A3A4"/>
          </p15:clr>
        </p15:guide>
        <p15:guide id="20" pos="4937">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1">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0120FA5-7267-7FCE-41A7-BDE4A0C66F82}"/>
              </a:ext>
            </a:extLst>
          </p:cNvPr>
          <p:cNvGraphicFramePr>
            <a:graphicFrameLocks noChangeAspect="1"/>
          </p:cNvGraphicFramePr>
          <p:nvPr userDrawn="1">
            <p:custDataLst>
              <p:tags r:id="rId1"/>
            </p:custDataLst>
            <p:extLst>
              <p:ext uri="{D42A27DB-BD31-4B8C-83A1-F6EECF244321}">
                <p14:modId xmlns:p14="http://schemas.microsoft.com/office/powerpoint/2010/main" val="25317394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think-cell data - do not delete" hidden="1">
                        <a:extLst>
                          <a:ext uri="{FF2B5EF4-FFF2-40B4-BE49-F238E27FC236}">
                            <a16:creationId xmlns:a16="http://schemas.microsoft.com/office/drawing/2014/main" id="{90120FA5-7267-7FCE-41A7-BDE4A0C66F8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Tree>
    <p:extLst>
      <p:ext uri="{BB962C8B-B14F-4D97-AF65-F5344CB8AC3E}">
        <p14:creationId xmlns:p14="http://schemas.microsoft.com/office/powerpoint/2010/main" val="1029939332"/>
      </p:ext>
    </p:extLst>
  </p:cSld>
  <p:clrMapOvr>
    <a:masterClrMapping/>
  </p:clrMapOvr>
  <p:transition>
    <p:fade/>
  </p:transition>
  <p:extLst>
    <p:ext uri="{DCECCB84-F9BA-43D5-87BE-67443E8EF086}">
      <p15:sldGuideLst xmlns:p15="http://schemas.microsoft.com/office/powerpoint/2012/main">
        <p15:guide id="13" pos="2744">
          <p15:clr>
            <a:srgbClr val="A4A3A4"/>
          </p15:clr>
        </p15:guide>
        <p15:guide id="18" pos="4343">
          <p15:clr>
            <a:srgbClr val="A4A3A4"/>
          </p15:clr>
        </p15:guide>
        <p15:guide id="20" pos="4937">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5F61E96A-1123-E346-A1F0-85896A0566F9}"/>
              </a:ext>
            </a:extLst>
          </p:cNvPr>
          <p:cNvSpPr/>
          <p:nvPr userDrawn="1">
            <p:custDataLst>
              <p:tags r:id="rId1"/>
            </p:custDataLst>
          </p:nvPr>
        </p:nvSpPr>
        <p:spPr>
          <a:xfrm>
            <a:off x="2" y="2"/>
            <a:ext cx="10583" cy="10583"/>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graphicFrame>
        <p:nvGraphicFramePr>
          <p:cNvPr id="3" name="Object 2" hidden="1"/>
          <p:cNvGraphicFramePr>
            <a:graphicFrameLocks noChangeAspect="1"/>
          </p:cNvGraphicFramePr>
          <p:nvPr userDrawn="1">
            <p:custDataLst>
              <p:tags r:id="rId2"/>
            </p:custDataLst>
          </p:nvPr>
        </p:nvGraphicFramePr>
        <p:xfrm>
          <a:off x="1561" y="1591"/>
          <a:ext cx="1556"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61" y="1591"/>
                        <a:ext cx="1556" cy="1588"/>
                      </a:xfrm>
                      <a:prstGeom prst="rect">
                        <a:avLst/>
                      </a:prstGeom>
                    </p:spPr>
                  </p:pic>
                </p:oleObj>
              </mc:Fallback>
            </mc:AlternateContent>
          </a:graphicData>
        </a:graphic>
      </p:graphicFrame>
      <p:sp>
        <p:nvSpPr>
          <p:cNvPr id="8" name="Text Placeholder 7"/>
          <p:cNvSpPr>
            <a:spLocks noGrp="1"/>
          </p:cNvSpPr>
          <p:nvPr>
            <p:ph type="body" sz="quarter" idx="13"/>
          </p:nvPr>
        </p:nvSpPr>
        <p:spPr>
          <a:xfrm>
            <a:off x="562712" y="1508400"/>
            <a:ext cx="11068063" cy="1385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2459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9147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resentation blank slide with light 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164388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ocument blank slide with white 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703024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C7397-F3A9-6A0C-00F5-A1AAE4430019}"/>
              </a:ext>
            </a:extLst>
          </p:cNvPr>
          <p:cNvSpPr>
            <a:spLocks noGrp="1"/>
          </p:cNvSpPr>
          <p:nvPr>
            <p:ph type="ctrTitle"/>
          </p:nvPr>
        </p:nvSpPr>
        <p:spPr>
          <a:xfrm>
            <a:off x="904724" y="1122363"/>
            <a:ext cx="10382552" cy="2387600"/>
          </a:xfrm>
        </p:spPr>
        <p:txBody>
          <a:bodyPr anchor="b"/>
          <a:lstStyle>
            <a:lvl1pPr algn="ctr">
              <a:defRPr sz="4800"/>
            </a:lvl1pPr>
          </a:lstStyle>
          <a:p>
            <a:r>
              <a:rPr lang="en-US"/>
              <a:t>Click to edit Master title style</a:t>
            </a:r>
          </a:p>
        </p:txBody>
      </p:sp>
      <p:sp>
        <p:nvSpPr>
          <p:cNvPr id="3" name="Subtitle 2">
            <a:extLst>
              <a:ext uri="{FF2B5EF4-FFF2-40B4-BE49-F238E27FC236}">
                <a16:creationId xmlns:a16="http://schemas.microsoft.com/office/drawing/2014/main" id="{06F300EF-02FA-D051-A8AB-FB3B0CAC1E86}"/>
              </a:ext>
            </a:extLst>
          </p:cNvPr>
          <p:cNvSpPr>
            <a:spLocks noGrp="1"/>
          </p:cNvSpPr>
          <p:nvPr>
            <p:ph type="subTitle" idx="1"/>
          </p:nvPr>
        </p:nvSpPr>
        <p:spPr>
          <a:xfrm>
            <a:off x="1524000" y="3602038"/>
            <a:ext cx="9144000" cy="1655763"/>
          </a:xfrm>
        </p:spPr>
        <p:txBody>
          <a:bodyPr/>
          <a:lstStyle>
            <a:lvl1pPr marL="0" indent="0" algn="ctr">
              <a:buNone/>
              <a:defRPr sz="2000"/>
            </a:lvl1pPr>
            <a:lvl2pPr marL="457171" indent="0" algn="ctr">
              <a:buNone/>
              <a:defRPr sz="2000"/>
            </a:lvl2pPr>
            <a:lvl3pPr marL="914340" indent="0" algn="ctr">
              <a:buNone/>
              <a:defRPr sz="1800"/>
            </a:lvl3pPr>
            <a:lvl4pPr marL="1371511" indent="0" algn="ctr">
              <a:buNone/>
              <a:defRPr sz="1600"/>
            </a:lvl4pPr>
            <a:lvl5pPr marL="1828681" indent="0" algn="ctr">
              <a:buNone/>
              <a:defRPr sz="1600"/>
            </a:lvl5pPr>
            <a:lvl6pPr marL="2285852" indent="0" algn="ctr">
              <a:buNone/>
              <a:defRPr sz="1600"/>
            </a:lvl6pPr>
            <a:lvl7pPr marL="2743021" indent="0" algn="ctr">
              <a:buNone/>
              <a:defRPr sz="1600"/>
            </a:lvl7pPr>
            <a:lvl8pPr marL="3200192" indent="0" algn="ctr">
              <a:buNone/>
              <a:defRPr sz="1600"/>
            </a:lvl8pPr>
            <a:lvl9pPr marL="3657363" indent="0" algn="ctr">
              <a:buNone/>
              <a:defRPr sz="1600"/>
            </a:lvl9pPr>
          </a:lstStyle>
          <a:p>
            <a:r>
              <a:rPr lang="en-US"/>
              <a:t>Click to edit Master subtitle style</a:t>
            </a:r>
          </a:p>
        </p:txBody>
      </p:sp>
    </p:spTree>
    <p:extLst>
      <p:ext uri="{BB962C8B-B14F-4D97-AF65-F5344CB8AC3E}">
        <p14:creationId xmlns:p14="http://schemas.microsoft.com/office/powerpoint/2010/main" val="8471219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B1A04-1453-ABB1-3BD2-6538DE558EA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4A8A75A-C48D-5453-A08D-525627BBF4B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4EB5461-930A-5E60-C7FB-DDA6A4E7AF48}"/>
              </a:ext>
            </a:extLst>
          </p:cNvPr>
          <p:cNvSpPr>
            <a:spLocks noGrp="1"/>
          </p:cNvSpPr>
          <p:nvPr>
            <p:ph type="dt" sz="half" idx="10"/>
          </p:nvPr>
        </p:nvSpPr>
        <p:spPr/>
        <p:txBody>
          <a:bodyPr/>
          <a:lstStyle/>
          <a:p>
            <a:fld id="{2010D01F-1BC2-4E69-9F2A-DDC2A48BBAEC}" type="datetimeFigureOut">
              <a:rPr lang="en-US" smtClean="0"/>
              <a:t>4/9/2025</a:t>
            </a:fld>
            <a:endParaRPr lang="en-US"/>
          </a:p>
        </p:txBody>
      </p:sp>
      <p:sp>
        <p:nvSpPr>
          <p:cNvPr id="5" name="Footer Placeholder 4">
            <a:extLst>
              <a:ext uri="{FF2B5EF4-FFF2-40B4-BE49-F238E27FC236}">
                <a16:creationId xmlns:a16="http://schemas.microsoft.com/office/drawing/2014/main" id="{1031E2F4-F989-E0D9-D431-5550C5AA32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4EF6E1-D4C6-A391-7C17-B9448303C750}"/>
              </a:ext>
            </a:extLst>
          </p:cNvPr>
          <p:cNvSpPr>
            <a:spLocks noGrp="1"/>
          </p:cNvSpPr>
          <p:nvPr>
            <p:ph type="sldNum" sz="quarter" idx="12"/>
          </p:nvPr>
        </p:nvSpPr>
        <p:spPr/>
        <p:txBody>
          <a:bodyPr/>
          <a:lstStyle/>
          <a:p>
            <a:fld id="{90623A98-DEB9-4ABD-BEA8-088375254FC1}" type="slidenum">
              <a:rPr lang="en-US" smtClean="0"/>
              <a:t>‹#›</a:t>
            </a:fld>
            <a:endParaRPr lang="en-US"/>
          </a:p>
        </p:txBody>
      </p:sp>
    </p:spTree>
    <p:extLst>
      <p:ext uri="{BB962C8B-B14F-4D97-AF65-F5344CB8AC3E}">
        <p14:creationId xmlns:p14="http://schemas.microsoft.com/office/powerpoint/2010/main" val="17232151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8020592"/>
      </p:ext>
    </p:extLst>
  </p:cSld>
  <p:clrMapOvr>
    <a:masterClrMapping/>
  </p:clrMapOvr>
  <p:transition>
    <p:fade/>
  </p:transition>
  <p:extLst>
    <p:ext uri="{DCECCB84-F9BA-43D5-87BE-67443E8EF086}">
      <p15:sldGuideLst xmlns:p15="http://schemas.microsoft.com/office/powerpoint/2012/main">
        <p15:guide id="7" pos="962">
          <p15:clr>
            <a:srgbClr val="A4A3A4"/>
          </p15:clr>
        </p15:guide>
        <p15:guide id="23" pos="5714">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Document blank slide with black backgroun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54A0799-B31D-4BD4-A3A8-B02C86389C31}"/>
              </a:ext>
            </a:extLst>
          </p:cNvPr>
          <p:cNvSpPr>
            <a:spLocks noGrp="1"/>
          </p:cNvSpPr>
          <p:nvPr>
            <p:ph type="body" sz="quarter" idx="11"/>
          </p:nvPr>
        </p:nvSpPr>
        <p:spPr>
          <a:xfrm>
            <a:off x="639764" y="1301750"/>
            <a:ext cx="10912475" cy="490539"/>
          </a:xfrm>
          <a:prstGeom prst="rect">
            <a:avLst/>
          </a:prstGeom>
        </p:spPr>
        <p:txBody>
          <a:bodyPr lIns="0" tIns="0" rIns="0" bIns="0"/>
          <a:lstStyle>
            <a:lvl1pPr>
              <a:defRPr sz="2000">
                <a:solidFill>
                  <a:schemeClr val="bg1"/>
                </a:solidFill>
                <a:latin typeface="+mj-lt"/>
              </a:defRPr>
            </a:lvl1pPr>
            <a:lvl2pPr>
              <a:defRPr sz="2000">
                <a:solidFill>
                  <a:schemeClr val="bg1"/>
                </a:solidFill>
                <a:latin typeface="+mj-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en-US"/>
              <a:t>Click to edit Master text styles</a:t>
            </a:r>
          </a:p>
        </p:txBody>
      </p:sp>
      <p:sp>
        <p:nvSpPr>
          <p:cNvPr id="3" name="Text Placeholder 2">
            <a:extLst>
              <a:ext uri="{FF2B5EF4-FFF2-40B4-BE49-F238E27FC236}">
                <a16:creationId xmlns:a16="http://schemas.microsoft.com/office/drawing/2014/main" id="{3173A6CC-8A41-43DF-BEE5-09DD7068C98D}"/>
              </a:ext>
            </a:extLst>
          </p:cNvPr>
          <p:cNvSpPr>
            <a:spLocks noGrp="1"/>
          </p:cNvSpPr>
          <p:nvPr>
            <p:ph type="body" sz="quarter" idx="10"/>
          </p:nvPr>
        </p:nvSpPr>
        <p:spPr>
          <a:xfrm>
            <a:off x="640436" y="591450"/>
            <a:ext cx="10911131" cy="556807"/>
          </a:xfrm>
          <a:prstGeom prst="rect">
            <a:avLst/>
          </a:prstGeom>
        </p:spPr>
        <p:txBody>
          <a:bodyPr lIns="0" tIns="0" rIns="0" bIns="0"/>
          <a:lstStyle>
            <a:lvl1pPr algn="l">
              <a:defRPr kumimoji="0" lang="en-US" sz="3600" b="0" i="0" u="none" strike="noStrike" kern="1200" cap="none" spc="0" normalizeH="0" baseline="0" dirty="0" smtClean="0">
                <a:ln>
                  <a:noFill/>
                </a:ln>
                <a:solidFill>
                  <a:srgbClr val="60CDFF"/>
                </a:solidFill>
                <a:effectLst/>
                <a:uLnTx/>
                <a:uFillTx/>
                <a:latin typeface="+mj-lt"/>
                <a:ea typeface="+mn-ea"/>
                <a:cs typeface="+mn-cs"/>
              </a:defRPr>
            </a:lvl1pPr>
            <a:lvl2pPr algn="ctr">
              <a:defRPr sz="3600">
                <a:solidFill>
                  <a:schemeClr val="bg1"/>
                </a:solidFill>
                <a:latin typeface="+mj-lt"/>
              </a:defRPr>
            </a:lvl2pPr>
            <a:lvl3pPr algn="ctr">
              <a:defRPr sz="3600">
                <a:solidFill>
                  <a:schemeClr val="bg1"/>
                </a:solidFill>
                <a:latin typeface="+mj-lt"/>
              </a:defRPr>
            </a:lvl3pPr>
            <a:lvl4pPr algn="ctr">
              <a:defRPr sz="3600">
                <a:solidFill>
                  <a:schemeClr val="bg1"/>
                </a:solidFill>
                <a:latin typeface="+mj-lt"/>
              </a:defRPr>
            </a:lvl4pPr>
            <a:lvl5pPr algn="ctr">
              <a:defRPr sz="3600">
                <a:solidFill>
                  <a:schemeClr val="bg1"/>
                </a:solidFill>
                <a:latin typeface="+mj-lt"/>
              </a:defRPr>
            </a:lvl5pPr>
          </a:lstStyle>
          <a:p>
            <a:pPr marL="0" marR="0" lvl="0" indent="0" algn="l" defTabSz="1097209" rtl="0" eaLnBrk="1" fontAlgn="auto" latinLnBrk="0" hangingPunct="1">
              <a:lnSpc>
                <a:spcPct val="100000"/>
              </a:lnSpc>
              <a:spcBef>
                <a:spcPts val="0"/>
              </a:spcBef>
              <a:spcAft>
                <a:spcPts val="0"/>
              </a:spcAft>
              <a:buClrTx/>
              <a:buSzTx/>
              <a:buFontTx/>
              <a:buNone/>
              <a:tabLst/>
              <a:defRPr/>
            </a:pPr>
            <a:r>
              <a:rPr lang="en-US"/>
              <a:t>Click to edit Master text styles</a:t>
            </a:r>
          </a:p>
        </p:txBody>
      </p:sp>
    </p:spTree>
    <p:extLst>
      <p:ext uri="{BB962C8B-B14F-4D97-AF65-F5344CB8AC3E}">
        <p14:creationId xmlns:p14="http://schemas.microsoft.com/office/powerpoint/2010/main" val="198208817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w/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119997-E7B0-4FC1-BA88-1C5C54A0B274}"/>
              </a:ext>
            </a:extLst>
          </p:cNvPr>
          <p:cNvSpPr>
            <a:spLocks noGrp="1"/>
          </p:cNvSpPr>
          <p:nvPr>
            <p:ph type="title"/>
          </p:nvPr>
        </p:nvSpPr>
        <p:spPr>
          <a:xfrm>
            <a:off x="838731" y="365130"/>
            <a:ext cx="10373557" cy="551089"/>
          </a:xfrm>
          <a:prstGeom prst="rect">
            <a:avLst/>
          </a:prstGeom>
        </p:spPr>
        <p:txBody>
          <a:bodyPr/>
          <a:lstStyle>
            <a:lvl1pPr>
              <a:defRPr sz="2667"/>
            </a:lvl1pPr>
          </a:lstStyle>
          <a:p>
            <a:r>
              <a:rPr lang="en-US"/>
              <a:t>Click to edit Master title style</a:t>
            </a:r>
          </a:p>
        </p:txBody>
      </p:sp>
    </p:spTree>
    <p:extLst>
      <p:ext uri="{BB962C8B-B14F-4D97-AF65-F5344CB8AC3E}">
        <p14:creationId xmlns:p14="http://schemas.microsoft.com/office/powerpoint/2010/main" val="335395238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Presentation content slide with subtitle and 4 columns on light background">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688FE3B8-F861-974A-9610-C8DFD00610B5}"/>
              </a:ext>
            </a:extLst>
          </p:cNvPr>
          <p:cNvSpPr>
            <a:spLocks noGrp="1"/>
          </p:cNvSpPr>
          <p:nvPr>
            <p:ph type="title"/>
          </p:nvPr>
        </p:nvSpPr>
        <p:spPr>
          <a:xfrm>
            <a:off x="563881" y="533401"/>
            <a:ext cx="2654859"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latin typeface="+mj-lt"/>
                <a:cs typeface="Segoe UI Variable Text Semibold" pitchFamily="2" charset="0"/>
              </a:defRPr>
            </a:lvl1pPr>
          </a:lstStyle>
          <a:p>
            <a:r>
              <a:rPr lang="en-US"/>
              <a:t>Click to edit Master title style</a:t>
            </a:r>
          </a:p>
        </p:txBody>
      </p:sp>
      <p:sp>
        <p:nvSpPr>
          <p:cNvPr id="13" name="Subtitle">
            <a:extLst>
              <a:ext uri="{FF2B5EF4-FFF2-40B4-BE49-F238E27FC236}">
                <a16:creationId xmlns:a16="http://schemas.microsoft.com/office/drawing/2014/main" id="{F51B74CE-EC41-47ED-9C52-573BA95C637C}"/>
              </a:ext>
            </a:extLst>
          </p:cNvPr>
          <p:cNvSpPr>
            <a:spLocks noGrp="1"/>
          </p:cNvSpPr>
          <p:nvPr>
            <p:ph type="body" sz="quarter" idx="14" hasCustomPrompt="1"/>
          </p:nvPr>
        </p:nvSpPr>
        <p:spPr>
          <a:xfrm>
            <a:off x="3365738" y="533402"/>
            <a:ext cx="5458119" cy="514351"/>
          </a:xfrm>
          <a:prstGeom prst="rect">
            <a:avLst/>
          </a:prstGeom>
        </p:spPr>
        <p:txBody>
          <a:bodyPr lIns="0" tIns="0" rIns="0" bIns="0"/>
          <a:lstStyle>
            <a:lvl1pPr marL="0">
              <a:lnSpc>
                <a:spcPct val="120000"/>
              </a:lnSpc>
              <a:spcBef>
                <a:spcPts val="0"/>
              </a:spcBef>
              <a:spcAft>
                <a:spcPts val="667"/>
              </a:spcAft>
              <a:defRPr sz="1667">
                <a:solidFill>
                  <a:srgbClr val="1B1B1B"/>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1" y="1485900"/>
            <a:ext cx="2654859" cy="4800600"/>
          </a:xfrm>
          <a:prstGeom prst="rect">
            <a:avLst/>
          </a:prstGeom>
        </p:spPr>
        <p:txBody>
          <a:bodyPr lIns="0" tIns="0" rIns="0" bIns="0"/>
          <a:lstStyle>
            <a:lvl1pPr marL="0">
              <a:lnSpc>
                <a:spcPct val="120000"/>
              </a:lnSpc>
              <a:spcBef>
                <a:spcPts val="0"/>
              </a:spcBef>
              <a:spcAft>
                <a:spcPts val="667"/>
              </a:spcAft>
              <a:defRPr sz="1167">
                <a:solidFill>
                  <a:srgbClr val="1B1B1B"/>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7" y="1485900"/>
            <a:ext cx="2654859" cy="4800600"/>
          </a:xfrm>
          <a:prstGeom prst="rect">
            <a:avLst/>
          </a:prstGeom>
        </p:spPr>
        <p:txBody>
          <a:bodyPr lIns="0" tIns="0" rIns="0" bIns="0"/>
          <a:lstStyle>
            <a:lvl1pPr marL="0">
              <a:lnSpc>
                <a:spcPct val="120000"/>
              </a:lnSpc>
              <a:spcBef>
                <a:spcPts val="0"/>
              </a:spcBef>
              <a:spcAft>
                <a:spcPts val="667"/>
              </a:spcAft>
              <a:defRPr sz="1167">
                <a:solidFill>
                  <a:srgbClr val="1B1B1B"/>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1" name="Body copy column 3">
            <a:extLst>
              <a:ext uri="{FF2B5EF4-FFF2-40B4-BE49-F238E27FC236}">
                <a16:creationId xmlns:a16="http://schemas.microsoft.com/office/drawing/2014/main" id="{E286D177-D5C8-4A66-B90E-67252A4119B4}"/>
              </a:ext>
            </a:extLst>
          </p:cNvPr>
          <p:cNvSpPr>
            <a:spLocks noGrp="1"/>
          </p:cNvSpPr>
          <p:nvPr>
            <p:ph type="body" sz="quarter" idx="12" hasCustomPrompt="1"/>
          </p:nvPr>
        </p:nvSpPr>
        <p:spPr>
          <a:xfrm>
            <a:off x="6167593" y="1485900"/>
            <a:ext cx="2654859" cy="4800600"/>
          </a:xfrm>
          <a:prstGeom prst="rect">
            <a:avLst/>
          </a:prstGeom>
        </p:spPr>
        <p:txBody>
          <a:bodyPr lIns="0" tIns="0" rIns="0" bIns="0"/>
          <a:lstStyle>
            <a:lvl1pPr marL="0">
              <a:lnSpc>
                <a:spcPct val="120000"/>
              </a:lnSpc>
              <a:spcBef>
                <a:spcPts val="0"/>
              </a:spcBef>
              <a:spcAft>
                <a:spcPts val="667"/>
              </a:spcAft>
              <a:defRPr sz="1167">
                <a:solidFill>
                  <a:srgbClr val="1B1B1B"/>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2" name="Body copy column 4">
            <a:extLst>
              <a:ext uri="{FF2B5EF4-FFF2-40B4-BE49-F238E27FC236}">
                <a16:creationId xmlns:a16="http://schemas.microsoft.com/office/drawing/2014/main" id="{8CC5693B-613F-4F81-87CA-5F4DF4381B8F}"/>
              </a:ext>
            </a:extLst>
          </p:cNvPr>
          <p:cNvSpPr>
            <a:spLocks noGrp="1"/>
          </p:cNvSpPr>
          <p:nvPr>
            <p:ph type="body" sz="quarter" idx="13" hasCustomPrompt="1"/>
          </p:nvPr>
        </p:nvSpPr>
        <p:spPr>
          <a:xfrm>
            <a:off x="8974668" y="1485900"/>
            <a:ext cx="2654859" cy="4800600"/>
          </a:xfrm>
          <a:prstGeom prst="rect">
            <a:avLst/>
          </a:prstGeom>
        </p:spPr>
        <p:txBody>
          <a:bodyPr lIns="0" tIns="0" rIns="0" bIns="0"/>
          <a:lstStyle>
            <a:lvl1pPr marL="0">
              <a:lnSpc>
                <a:spcPct val="120000"/>
              </a:lnSpc>
              <a:spcBef>
                <a:spcPts val="0"/>
              </a:spcBef>
              <a:spcAft>
                <a:spcPts val="667"/>
              </a:spcAft>
              <a:defRPr sz="1167">
                <a:solidFill>
                  <a:srgbClr val="1B1B1B"/>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Tree>
    <p:extLst>
      <p:ext uri="{BB962C8B-B14F-4D97-AF65-F5344CB8AC3E}">
        <p14:creationId xmlns:p14="http://schemas.microsoft.com/office/powerpoint/2010/main" val="91006940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83F411-DA43-004E-A188-AB08AD32DEF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3D88F9C-65A3-9702-0DDC-982C3C50C16E}"/>
              </a:ext>
            </a:extLst>
          </p:cNvPr>
          <p:cNvSpPr>
            <a:spLocks noGrp="1"/>
          </p:cNvSpPr>
          <p:nvPr>
            <p:ph type="dt" sz="half" idx="10"/>
          </p:nvPr>
        </p:nvSpPr>
        <p:spPr/>
        <p:txBody>
          <a:bodyPr/>
          <a:lstStyle/>
          <a:p>
            <a:pPr>
              <a:defRPr/>
            </a:pPr>
            <a:fld id="{D7618E16-EC84-4489-B665-F0B5888EC708}" type="datetimeFigureOut">
              <a:rPr lang="en-US" smtClean="0">
                <a:solidFill>
                  <a:srgbClr val="000000"/>
                </a:solidFill>
              </a:rPr>
              <a:pPr>
                <a:defRPr/>
              </a:pPr>
              <a:t>4/9/2025</a:t>
            </a:fld>
            <a:endParaRPr lang="en-US">
              <a:solidFill>
                <a:srgbClr val="000000"/>
              </a:solidFill>
            </a:endParaRPr>
          </a:p>
        </p:txBody>
      </p:sp>
      <p:sp>
        <p:nvSpPr>
          <p:cNvPr id="4" name="Footer Placeholder 3">
            <a:extLst>
              <a:ext uri="{FF2B5EF4-FFF2-40B4-BE49-F238E27FC236}">
                <a16:creationId xmlns:a16="http://schemas.microsoft.com/office/drawing/2014/main" id="{224C7DD9-4746-441D-43DD-3740B2DE459E}"/>
              </a:ext>
            </a:extLst>
          </p:cNvPr>
          <p:cNvSpPr>
            <a:spLocks noGrp="1"/>
          </p:cNvSpPr>
          <p:nvPr>
            <p:ph type="ftr" sz="quarter" idx="11"/>
          </p:nvPr>
        </p:nvSpPr>
        <p:spPr/>
        <p:txBody>
          <a:bodyPr/>
          <a:lstStyle/>
          <a:p>
            <a:pPr>
              <a:defRPr/>
            </a:pPr>
            <a:endParaRPr lang="en-US">
              <a:solidFill>
                <a:srgbClr val="000000"/>
              </a:solidFill>
            </a:endParaRPr>
          </a:p>
        </p:txBody>
      </p:sp>
      <p:sp>
        <p:nvSpPr>
          <p:cNvPr id="5" name="Slide Number Placeholder 4">
            <a:extLst>
              <a:ext uri="{FF2B5EF4-FFF2-40B4-BE49-F238E27FC236}">
                <a16:creationId xmlns:a16="http://schemas.microsoft.com/office/drawing/2014/main" id="{E15A6D96-A0CF-A50F-42C6-B0AF2BF2A2C9}"/>
              </a:ext>
            </a:extLst>
          </p:cNvPr>
          <p:cNvSpPr>
            <a:spLocks noGrp="1"/>
          </p:cNvSpPr>
          <p:nvPr>
            <p:ph type="sldNum" sz="quarter" idx="12"/>
          </p:nvPr>
        </p:nvSpPr>
        <p:spPr/>
        <p:txBody>
          <a:bodyPr/>
          <a:lstStyle/>
          <a:p>
            <a:pPr>
              <a:defRPr/>
            </a:pPr>
            <a:fld id="{BCDF71CC-3711-4D1B-BC88-FA7A91370997}" type="slidenum">
              <a:rPr lang="en-US" smtClean="0">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144783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Tex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5F61E96A-1123-E346-A1F0-85896A0566F9}"/>
              </a:ext>
            </a:extLst>
          </p:cNvPr>
          <p:cNvSpPr/>
          <p:nvPr userDrawn="1">
            <p:custDataLst>
              <p:tags r:id="rId1"/>
            </p:custDataLst>
          </p:nvPr>
        </p:nvSpPr>
        <p:spPr>
          <a:xfrm>
            <a:off x="2" y="2"/>
            <a:ext cx="10583" cy="10583"/>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graphicFrame>
        <p:nvGraphicFramePr>
          <p:cNvPr id="3" name="Object 2" hidden="1"/>
          <p:cNvGraphicFramePr>
            <a:graphicFrameLocks noChangeAspect="1"/>
          </p:cNvGraphicFramePr>
          <p:nvPr userDrawn="1">
            <p:custDataLst>
              <p:tags r:id="rId2"/>
            </p:custDataLst>
          </p:nvPr>
        </p:nvGraphicFramePr>
        <p:xfrm>
          <a:off x="1561" y="1591"/>
          <a:ext cx="1556"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61" y="1591"/>
                        <a:ext cx="1556" cy="1588"/>
                      </a:xfrm>
                      <a:prstGeom prst="rect">
                        <a:avLst/>
                      </a:prstGeom>
                    </p:spPr>
                  </p:pic>
                </p:oleObj>
              </mc:Fallback>
            </mc:AlternateContent>
          </a:graphicData>
        </a:graphic>
      </p:graphicFrame>
      <p:sp>
        <p:nvSpPr>
          <p:cNvPr id="8" name="Text Placeholder 7"/>
          <p:cNvSpPr>
            <a:spLocks noGrp="1"/>
          </p:cNvSpPr>
          <p:nvPr>
            <p:ph type="body" sz="quarter" idx="13"/>
          </p:nvPr>
        </p:nvSpPr>
        <p:spPr>
          <a:xfrm>
            <a:off x="562712" y="1508400"/>
            <a:ext cx="11068063" cy="13851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1689726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Presentation blank slide with light background">
    <p:spTree>
      <p:nvGrpSpPr>
        <p:cNvPr id="1" name=""/>
        <p:cNvGrpSpPr/>
        <p:nvPr/>
      </p:nvGrpSpPr>
      <p:grpSpPr>
        <a:xfrm>
          <a:off x="0" y="0"/>
          <a:ext cx="0" cy="0"/>
          <a:chOff x="0" y="0"/>
          <a:chExt cx="0" cy="0"/>
        </a:xfrm>
      </p:grpSpPr>
      <p:sp>
        <p:nvSpPr>
          <p:cNvPr id="4" name="Footer note">
            <a:extLst>
              <a:ext uri="{FF2B5EF4-FFF2-40B4-BE49-F238E27FC236}">
                <a16:creationId xmlns:a16="http://schemas.microsoft.com/office/drawing/2014/main" id="{6309739E-918A-44DB-BE10-EE23598332B7}"/>
              </a:ext>
              <a:ext uri="{C183D7F6-B498-43B3-948B-1728B52AA6E4}">
                <adec:decorative xmlns:adec="http://schemas.microsoft.com/office/drawing/2017/decorative" val="1"/>
              </a:ext>
            </a:extLst>
          </p:cNvPr>
          <p:cNvSpPr>
            <a:spLocks noGrp="1"/>
          </p:cNvSpPr>
          <p:nvPr>
            <p:ph type="ftr" sz="quarter" idx="3"/>
          </p:nvPr>
        </p:nvSpPr>
        <p:spPr>
          <a:xfrm>
            <a:off x="856731"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1" defTabSz="761921">
              <a:defRPr/>
            </a:pPr>
            <a:r>
              <a:rPr lang="en-US"/>
              <a:t>Windows execution guidelines/Template/Section name</a:t>
            </a:r>
          </a:p>
        </p:txBody>
      </p:sp>
      <p:sp>
        <p:nvSpPr>
          <p:cNvPr id="5" name="Slide number">
            <a:extLst>
              <a:ext uri="{FF2B5EF4-FFF2-40B4-BE49-F238E27FC236}">
                <a16:creationId xmlns:a16="http://schemas.microsoft.com/office/drawing/2014/main" id="{1409F942-907B-421D-B8CB-386F627048CF}"/>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4" defTabSz="761921">
              <a:defRPr/>
            </a:pPr>
            <a:fld id="{81D60167-4931-47E6-BA6A-407CBD079E47}" type="slidenum">
              <a:rPr lang="en-US" smtClean="0"/>
              <a:pPr marL="21164" defTabSz="761921">
                <a:defRPr/>
              </a:pPr>
              <a:t>‹#›</a:t>
            </a:fld>
            <a:endParaRPr lang="en-US"/>
          </a:p>
        </p:txBody>
      </p:sp>
    </p:spTree>
    <p:extLst>
      <p:ext uri="{BB962C8B-B14F-4D97-AF65-F5344CB8AC3E}">
        <p14:creationId xmlns:p14="http://schemas.microsoft.com/office/powerpoint/2010/main" val="204222676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ight">
    <p:bg>
      <p:bgPr>
        <a:solidFill>
          <a:schemeClr val="bg1">
            <a:lumMod val="95000"/>
          </a:schemeClr>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FE4DCF1A-29A4-2E3B-ED9B-3B325F865017}"/>
              </a:ext>
            </a:extLst>
          </p:cNvPr>
          <p:cNvGrpSpPr/>
          <p:nvPr userDrawn="1"/>
        </p:nvGrpSpPr>
        <p:grpSpPr>
          <a:xfrm>
            <a:off x="330027" y="6625888"/>
            <a:ext cx="93751" cy="93823"/>
            <a:chOff x="581025" y="6570663"/>
            <a:chExt cx="113437" cy="113524"/>
          </a:xfrm>
        </p:grpSpPr>
        <p:sp>
          <p:nvSpPr>
            <p:cNvPr id="2" name="Rectangle 1">
              <a:extLst>
                <a:ext uri="{FF2B5EF4-FFF2-40B4-BE49-F238E27FC236}">
                  <a16:creationId xmlns:a16="http://schemas.microsoft.com/office/drawing/2014/main" id="{9A9E4F80-6900-23A5-78B2-0B00C4EB9AA3}"/>
                </a:ext>
              </a:extLst>
            </p:cNvPr>
            <p:cNvSpPr/>
            <p:nvPr userDrawn="1"/>
          </p:nvSpPr>
          <p:spPr>
            <a:xfrm>
              <a:off x="581025" y="6570663"/>
              <a:ext cx="52716" cy="52716"/>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 name="Rectangle 3">
              <a:extLst>
                <a:ext uri="{FF2B5EF4-FFF2-40B4-BE49-F238E27FC236}">
                  <a16:creationId xmlns:a16="http://schemas.microsoft.com/office/drawing/2014/main" id="{82DC88A2-157A-DE0C-13D3-3EC59F7B8EDD}"/>
                </a:ext>
              </a:extLst>
            </p:cNvPr>
            <p:cNvSpPr/>
            <p:nvPr userDrawn="1"/>
          </p:nvSpPr>
          <p:spPr>
            <a:xfrm>
              <a:off x="641746" y="6570663"/>
              <a:ext cx="52716" cy="52716"/>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752FDED7-66DA-E874-330A-21C8DD912996}"/>
                </a:ext>
              </a:extLst>
            </p:cNvPr>
            <p:cNvSpPr/>
            <p:nvPr userDrawn="1"/>
          </p:nvSpPr>
          <p:spPr>
            <a:xfrm>
              <a:off x="581025" y="6631471"/>
              <a:ext cx="52716" cy="52716"/>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AA3C3B20-D0DE-DDA9-EC1B-84A39A731973}"/>
                </a:ext>
              </a:extLst>
            </p:cNvPr>
            <p:cNvSpPr/>
            <p:nvPr userDrawn="1"/>
          </p:nvSpPr>
          <p:spPr>
            <a:xfrm>
              <a:off x="641746" y="6631471"/>
              <a:ext cx="52716" cy="52716"/>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itle 1">
            <a:extLst>
              <a:ext uri="{FF2B5EF4-FFF2-40B4-BE49-F238E27FC236}">
                <a16:creationId xmlns:a16="http://schemas.microsoft.com/office/drawing/2014/main" id="{469ED91E-11E4-48D5-BDD4-AC7093F4FC4F}"/>
              </a:ext>
            </a:extLst>
          </p:cNvPr>
          <p:cNvSpPr txBox="1">
            <a:spLocks/>
          </p:cNvSpPr>
          <p:nvPr userDrawn="1"/>
        </p:nvSpPr>
        <p:spPr>
          <a:xfrm>
            <a:off x="657227" y="6624655"/>
            <a:ext cx="1776413" cy="99996"/>
          </a:xfrm>
          <a:prstGeom prst="rect">
            <a:avLst/>
          </a:prstGeom>
          <a:noFill/>
        </p:spPr>
        <p:txBody>
          <a:bodyPr vert="horz" lIns="0" tIns="0" rIns="0" bIns="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340" rtl="0" eaLnBrk="1" fontAlgn="auto" latinLnBrk="0" hangingPunct="1">
              <a:lnSpc>
                <a:spcPct val="100000"/>
              </a:lnSpc>
              <a:spcBef>
                <a:spcPct val="0"/>
              </a:spcBef>
              <a:spcAft>
                <a:spcPts val="0"/>
              </a:spcAft>
              <a:buClrTx/>
              <a:buSzTx/>
              <a:buFontTx/>
              <a:buNone/>
              <a:tabLst/>
              <a:defRPr/>
            </a:pPr>
            <a:r>
              <a:rPr kumimoji="0" lang="en-US" sz="600" b="0" i="0" u="none" strike="noStrike" kern="1200" cap="none" spc="0" normalizeH="0" baseline="0" noProof="0">
                <a:ln>
                  <a:noFill/>
                </a:ln>
                <a:solidFill>
                  <a:prstClr val="black">
                    <a:lumMod val="85000"/>
                    <a:lumOff val="15000"/>
                  </a:prstClr>
                </a:solidFill>
                <a:effectLst/>
                <a:uLnTx/>
                <a:uFillTx/>
                <a:latin typeface="Segoe UI" panose="020B0502040204020203" pitchFamily="34" charset="0"/>
                <a:ea typeface="+mj-ea"/>
                <a:cs typeface="Segoe UI" panose="020B0502040204020203" pitchFamily="34" charset="0"/>
              </a:rPr>
              <a:t>Microsoft Highly Confidential</a:t>
            </a:r>
          </a:p>
        </p:txBody>
      </p:sp>
    </p:spTree>
    <p:extLst>
      <p:ext uri="{BB962C8B-B14F-4D97-AF65-F5344CB8AC3E}">
        <p14:creationId xmlns:p14="http://schemas.microsoft.com/office/powerpoint/2010/main" val="1938368702"/>
      </p:ext>
    </p:extLst>
  </p:cSld>
  <p:clrMapOvr>
    <a:masterClrMapping/>
  </p:clrMapOvr>
  <p:extLst>
    <p:ext uri="{DCECCB84-F9BA-43D5-87BE-67443E8EF086}">
      <p15:sldGuideLst xmlns:p15="http://schemas.microsoft.com/office/powerpoint/2012/main">
        <p15:guide id="1" orient="horz" pos="2304">
          <p15:clr>
            <a:srgbClr val="FBAE40"/>
          </p15:clr>
        </p15:guide>
        <p15:guide id="2" pos="345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4" y="589551"/>
            <a:ext cx="11018520" cy="553999"/>
          </a:xfrm>
        </p:spPr>
        <p:txBody>
          <a:bodyPr/>
          <a:lstStyle/>
          <a:p>
            <a:r>
              <a:rPr lang="en-US"/>
              <a:t>Click to edit Master title style</a:t>
            </a:r>
          </a:p>
        </p:txBody>
      </p:sp>
      <p:sp>
        <p:nvSpPr>
          <p:cNvPr id="4" name="Text Placeholder 3"/>
          <p:cNvSpPr>
            <a:spLocks noGrp="1"/>
          </p:cNvSpPr>
          <p:nvPr>
            <p:ph type="body" sz="quarter" idx="10"/>
          </p:nvPr>
        </p:nvSpPr>
        <p:spPr>
          <a:xfrm>
            <a:off x="586391" y="1434372"/>
            <a:ext cx="11018520" cy="8558784"/>
          </a:xfrm>
        </p:spPr>
        <p:txBody>
          <a:bodyPr wrap="square">
            <a:spAutoFit/>
          </a:bodyPr>
          <a:lstStyle>
            <a:lvl1pPr marL="0" indent="0">
              <a:buNone/>
              <a:defRPr/>
            </a:lvl1pPr>
            <a:lvl2pPr marL="228516" indent="0">
              <a:buNone/>
              <a:defRPr/>
            </a:lvl2pPr>
            <a:lvl3pPr marL="457033" indent="0">
              <a:buNone/>
              <a:defRPr/>
            </a:lvl3pPr>
            <a:lvl4pPr marL="685551" indent="0">
              <a:buNone/>
              <a:defRPr/>
            </a:lvl4pPr>
            <a:lvl5pPr marL="91406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48031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ocument content slide with one large centered column on white background">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82CF2B4E-A4E2-4E8D-9C87-2C7BAC1B3CCA}"/>
              </a:ext>
            </a:extLst>
          </p:cNvPr>
          <p:cNvSpPr>
            <a:spLocks noGrp="1"/>
          </p:cNvSpPr>
          <p:nvPr>
            <p:ph type="title"/>
          </p:nvPr>
        </p:nvSpPr>
        <p:spPr>
          <a:xfrm>
            <a:off x="563881" y="533404"/>
            <a:ext cx="2654859"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rgbClr val="1B1B1B"/>
                </a:solidFill>
              </a:defRPr>
            </a:lvl1pPr>
          </a:lstStyle>
          <a:p>
            <a:r>
              <a:rPr lang="en-US"/>
              <a:t>Click to edit Master title style</a:t>
            </a:r>
          </a:p>
        </p:txBody>
      </p:sp>
      <p:sp>
        <p:nvSpPr>
          <p:cNvPr id="11" name="Subtitle">
            <a:extLst>
              <a:ext uri="{FF2B5EF4-FFF2-40B4-BE49-F238E27FC236}">
                <a16:creationId xmlns:a16="http://schemas.microsoft.com/office/drawing/2014/main" id="{0EA6F937-C1E6-4F86-BB51-699DD23B513C}"/>
              </a:ext>
            </a:extLst>
          </p:cNvPr>
          <p:cNvSpPr>
            <a:spLocks noGrp="1"/>
          </p:cNvSpPr>
          <p:nvPr>
            <p:ph type="body" sz="quarter" idx="14" hasCustomPrompt="1"/>
          </p:nvPr>
        </p:nvSpPr>
        <p:spPr>
          <a:xfrm>
            <a:off x="3365738" y="533401"/>
            <a:ext cx="5458119" cy="575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2" name="Slide number">
            <a:extLst>
              <a:ext uri="{FF2B5EF4-FFF2-40B4-BE49-F238E27FC236}">
                <a16:creationId xmlns:a16="http://schemas.microsoft.com/office/drawing/2014/main" id="{96F988D0-B171-4870-A7D5-E65F77799EA3}"/>
              </a:ext>
              <a:ext uri="{C183D7F6-B498-43B3-948B-1728B52AA6E4}">
                <adec:decorative xmlns:adec="http://schemas.microsoft.com/office/drawing/2017/decorative" val="1"/>
              </a:ext>
            </a:extLst>
          </p:cNvPr>
          <p:cNvSpPr>
            <a:spLocks noGrp="1"/>
          </p:cNvSpPr>
          <p:nvPr>
            <p:ph type="sldNum" sz="quarter" idx="4"/>
          </p:nvPr>
        </p:nvSpPr>
        <p:spPr>
          <a:xfrm>
            <a:off x="549130" y="6516660"/>
            <a:ext cx="158751" cy="128240"/>
          </a:xfrm>
          <a:prstGeom prst="rect">
            <a:avLst/>
          </a:prstGeom>
        </p:spPr>
        <p:txBody>
          <a:bodyPr lIns="0" tIns="0" rIns="0" bIns="0" anchor="b" anchorCtr="0"/>
          <a:lstStyle>
            <a:lvl1pPr>
              <a:lnSpc>
                <a:spcPct val="100000"/>
              </a:lnSpc>
              <a:spcBef>
                <a:spcPts val="0"/>
              </a:spcBef>
              <a:defRPr sz="667" b="0" i="0" spc="0" baseline="0">
                <a:solidFill>
                  <a:srgbClr val="1B1B1B"/>
                </a:solidFill>
                <a:latin typeface="Segoe UI" panose="020B0502040204020203" pitchFamily="34" charset="0"/>
                <a:cs typeface="Segoe UI" panose="020B0502040204020203" pitchFamily="34" charset="0"/>
              </a:defRPr>
            </a:lvl1pPr>
          </a:lstStyle>
          <a:p>
            <a:pPr marL="21162" defTabSz="761890">
              <a:defRPr/>
            </a:pPr>
            <a:fld id="{81D60167-4931-47E6-BA6A-407CBD079E47}" type="slidenum">
              <a:rPr lang="en-US" smtClean="0"/>
              <a:pPr marL="21162" defTabSz="761890">
                <a:defRPr/>
              </a:pPr>
              <a:t>‹#›</a:t>
            </a:fld>
            <a:endParaRPr lang="en-US"/>
          </a:p>
        </p:txBody>
      </p:sp>
      <p:sp>
        <p:nvSpPr>
          <p:cNvPr id="13" name="Footer note">
            <a:extLst>
              <a:ext uri="{FF2B5EF4-FFF2-40B4-BE49-F238E27FC236}">
                <a16:creationId xmlns:a16="http://schemas.microsoft.com/office/drawing/2014/main" id="{3F3CF15A-891E-40A5-884D-08AB1E27B64D}"/>
              </a:ext>
              <a:ext uri="{C183D7F6-B498-43B3-948B-1728B52AA6E4}">
                <adec:decorative xmlns:adec="http://schemas.microsoft.com/office/drawing/2017/decorative" val="1"/>
              </a:ext>
            </a:extLst>
          </p:cNvPr>
          <p:cNvSpPr>
            <a:spLocks noGrp="1"/>
          </p:cNvSpPr>
          <p:nvPr>
            <p:ph type="ftr" sz="quarter" idx="3"/>
          </p:nvPr>
        </p:nvSpPr>
        <p:spPr>
          <a:xfrm>
            <a:off x="856731" y="6516660"/>
            <a:ext cx="2707080" cy="128240"/>
          </a:xfrm>
          <a:prstGeom prst="rect">
            <a:avLst/>
          </a:prstGeom>
        </p:spPr>
        <p:txBody>
          <a:bodyPr lIns="0" tIns="0" rIns="0" bIns="0" anchor="b" anchorCtr="0"/>
          <a:lstStyle>
            <a:lvl1pPr>
              <a:lnSpc>
                <a:spcPct val="100000"/>
              </a:lnSpc>
              <a:spcBef>
                <a:spcPts val="0"/>
              </a:spcBef>
              <a:defRPr sz="667" b="0" i="0" spc="0" baseline="0">
                <a:solidFill>
                  <a:srgbClr val="1B1B1B"/>
                </a:solidFill>
                <a:latin typeface="Segoe UI" panose="020B0502040204020203" pitchFamily="34" charset="0"/>
                <a:cs typeface="Segoe UI" panose="020B0502040204020203" pitchFamily="34" charset="0"/>
              </a:defRPr>
            </a:lvl1pPr>
          </a:lstStyle>
          <a:p>
            <a:pPr marL="10581" defTabSz="761890">
              <a:defRPr/>
            </a:pPr>
            <a:r>
              <a:rPr lang="en-US"/>
              <a:t>Windows execution guidelines/Template/Section name</a:t>
            </a:r>
          </a:p>
        </p:txBody>
      </p:sp>
    </p:spTree>
    <p:extLst>
      <p:ext uri="{BB962C8B-B14F-4D97-AF65-F5344CB8AC3E}">
        <p14:creationId xmlns:p14="http://schemas.microsoft.com/office/powerpoint/2010/main" val="230638742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4A4F56-06B4-C1CB-0A0B-4054B7F0597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999F31D-ECB9-F444-0966-A6F3C6C3CA48}"/>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35B89F3-ADDF-7755-D72D-92999DAF3F20}"/>
              </a:ext>
            </a:extLst>
          </p:cNvPr>
          <p:cNvSpPr>
            <a:spLocks noGrp="1"/>
          </p:cNvSpPr>
          <p:nvPr>
            <p:ph type="dt" sz="half" idx="10"/>
          </p:nvPr>
        </p:nvSpPr>
        <p:spPr/>
        <p:txBody>
          <a:bodyPr/>
          <a:lstStyle/>
          <a:p>
            <a:fld id="{2010D01F-1BC2-4E69-9F2A-DDC2A48BBAEC}" type="datetimeFigureOut">
              <a:rPr lang="en-US" smtClean="0"/>
              <a:t>4/9/2025</a:t>
            </a:fld>
            <a:endParaRPr lang="en-US"/>
          </a:p>
        </p:txBody>
      </p:sp>
      <p:sp>
        <p:nvSpPr>
          <p:cNvPr id="5" name="Footer Placeholder 4">
            <a:extLst>
              <a:ext uri="{FF2B5EF4-FFF2-40B4-BE49-F238E27FC236}">
                <a16:creationId xmlns:a16="http://schemas.microsoft.com/office/drawing/2014/main" id="{702F1CDD-08DF-C162-A630-375B49514E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139B13-F33A-D5B9-70DA-E0C0728C072D}"/>
              </a:ext>
            </a:extLst>
          </p:cNvPr>
          <p:cNvSpPr>
            <a:spLocks noGrp="1"/>
          </p:cNvSpPr>
          <p:nvPr>
            <p:ph type="sldNum" sz="quarter" idx="12"/>
          </p:nvPr>
        </p:nvSpPr>
        <p:spPr/>
        <p:txBody>
          <a:bodyPr/>
          <a:lstStyle/>
          <a:p>
            <a:fld id="{90623A98-DEB9-4ABD-BEA8-088375254FC1}" type="slidenum">
              <a:rPr lang="en-US" smtClean="0"/>
              <a:t>‹#›</a:t>
            </a:fld>
            <a:endParaRPr lang="en-US"/>
          </a:p>
        </p:txBody>
      </p:sp>
    </p:spTree>
    <p:extLst>
      <p:ext uri="{BB962C8B-B14F-4D97-AF65-F5344CB8AC3E}">
        <p14:creationId xmlns:p14="http://schemas.microsoft.com/office/powerpoint/2010/main" val="256785186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4" y="589547"/>
            <a:ext cx="11018520" cy="553999"/>
          </a:xfrm>
          <a:prstGeom prst="rect">
            <a:avLst/>
          </a:prstGeo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3" y="1435103"/>
            <a:ext cx="11018839" cy="1612493"/>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5" y="-203944"/>
            <a:ext cx="577081" cy="153888"/>
          </a:xfrm>
          <a:prstGeom prst="rect">
            <a:avLst/>
          </a:prstGeom>
          <a:noFill/>
        </p:spPr>
        <p:txBody>
          <a:bodyPr wrap="none" lIns="0" tIns="0" rIns="0" bIns="0" rtlCol="0">
            <a:spAutoFit/>
          </a:bodyPr>
          <a:lstStyle/>
          <a:p>
            <a:pPr marL="0" marR="0" lvl="0" indent="0" algn="l" defTabSz="91434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98683430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97C96-4303-9049-4103-EC4DCB0BE9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6C363DB-E56C-5C40-1685-435F9987A54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C26909B-E4F5-415B-C043-D200BC542D2C}"/>
              </a:ext>
            </a:extLst>
          </p:cNvPr>
          <p:cNvSpPr>
            <a:spLocks noGrp="1"/>
          </p:cNvSpPr>
          <p:nvPr>
            <p:ph type="dt" sz="half" idx="10"/>
          </p:nvPr>
        </p:nvSpPr>
        <p:spPr/>
        <p:txBody>
          <a:bodyPr/>
          <a:lstStyle/>
          <a:p>
            <a:pPr>
              <a:defRPr/>
            </a:pPr>
            <a:fld id="{A13EDF4B-E19D-43CB-AAA4-042674D24EA3}" type="datetimeFigureOut">
              <a:rPr lang="en-US" smtClean="0">
                <a:solidFill>
                  <a:srgbClr val="000000"/>
                </a:solidFill>
              </a:rPr>
              <a:pPr>
                <a:defRPr/>
              </a:pPr>
              <a:t>4/9/2025</a:t>
            </a:fld>
            <a:endParaRPr lang="en-US">
              <a:solidFill>
                <a:srgbClr val="000000"/>
              </a:solidFill>
            </a:endParaRPr>
          </a:p>
        </p:txBody>
      </p:sp>
      <p:sp>
        <p:nvSpPr>
          <p:cNvPr id="5" name="Footer Placeholder 4">
            <a:extLst>
              <a:ext uri="{FF2B5EF4-FFF2-40B4-BE49-F238E27FC236}">
                <a16:creationId xmlns:a16="http://schemas.microsoft.com/office/drawing/2014/main" id="{BA30AC30-688F-3A48-6E78-A881A8B2A73F}"/>
              </a:ext>
            </a:extLst>
          </p:cNvPr>
          <p:cNvSpPr>
            <a:spLocks noGrp="1"/>
          </p:cNvSpPr>
          <p:nvPr>
            <p:ph type="ftr" sz="quarter" idx="11"/>
          </p:nvPr>
        </p:nvSpPr>
        <p:spPr/>
        <p:txBody>
          <a:bodyPr/>
          <a:lstStyle/>
          <a:p>
            <a:pPr>
              <a:defRPr/>
            </a:pPr>
            <a:endParaRPr lang="en-US">
              <a:solidFill>
                <a:srgbClr val="000000"/>
              </a:solidFill>
            </a:endParaRPr>
          </a:p>
        </p:txBody>
      </p:sp>
      <p:sp>
        <p:nvSpPr>
          <p:cNvPr id="6" name="Slide Number Placeholder 5">
            <a:extLst>
              <a:ext uri="{FF2B5EF4-FFF2-40B4-BE49-F238E27FC236}">
                <a16:creationId xmlns:a16="http://schemas.microsoft.com/office/drawing/2014/main" id="{04D8C6EB-4192-0C43-14C4-7F9906AE7B35}"/>
              </a:ext>
            </a:extLst>
          </p:cNvPr>
          <p:cNvSpPr>
            <a:spLocks noGrp="1"/>
          </p:cNvSpPr>
          <p:nvPr>
            <p:ph type="sldNum" sz="quarter" idx="12"/>
          </p:nvPr>
        </p:nvSpPr>
        <p:spPr/>
        <p:txBody>
          <a:bodyPr/>
          <a:lstStyle/>
          <a:p>
            <a:pPr>
              <a:defRPr/>
            </a:pPr>
            <a:fld id="{D81E33A9-3D48-47C8-8128-B8E5C8BC0520}" type="slidenum">
              <a:rPr lang="en-US" smtClean="0">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3778994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2"/>
            <a:ext cx="11018520" cy="553999"/>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4201" y="1435102"/>
            <a:ext cx="5212080" cy="2035087"/>
          </a:xfrm>
          <a:prstGeom prst="rect">
            <a:avLst/>
          </a:prstGeo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494" indent="0">
              <a:buFont typeface="Wingdings" panose="05000000000000000000" pitchFamily="2" charset="2"/>
              <a:buNone/>
              <a:defRPr sz="1999" b="0"/>
            </a:lvl2pPr>
            <a:lvl3pPr marL="450685" indent="0">
              <a:buFont typeface="Wingdings" panose="05000000000000000000" pitchFamily="2" charset="2"/>
              <a:buNone/>
              <a:tabLst/>
              <a:defRPr sz="1600" b="0"/>
            </a:lvl3pPr>
            <a:lvl4pPr marL="652224" indent="0">
              <a:buFont typeface="Wingdings" panose="05000000000000000000" pitchFamily="2" charset="2"/>
              <a:buNone/>
              <a:defRPr sz="1400" b="0"/>
            </a:lvl4pPr>
            <a:lvl5pPr marL="853763"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2"/>
            <a:ext cx="5212080" cy="2035087"/>
          </a:xfrm>
          <a:prstGeom prst="rect">
            <a:avLst/>
          </a:prstGeo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494" indent="0">
              <a:buFont typeface="Wingdings" panose="05000000000000000000" pitchFamily="2" charset="2"/>
              <a:buNone/>
              <a:defRPr sz="1999" b="0"/>
            </a:lvl2pPr>
            <a:lvl3pPr marL="450685" indent="0">
              <a:buFont typeface="Wingdings" panose="05000000000000000000" pitchFamily="2" charset="2"/>
              <a:buNone/>
              <a:tabLst/>
              <a:defRPr sz="1600" b="0"/>
            </a:lvl3pPr>
            <a:lvl4pPr marL="652224" indent="0">
              <a:buFont typeface="Wingdings" panose="05000000000000000000" pitchFamily="2" charset="2"/>
              <a:buNone/>
              <a:defRPr sz="1400" b="0"/>
            </a:lvl4pPr>
            <a:lvl5pPr marL="853763"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37511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9A794-4F98-4C0B-8D12-6F8F99BB1799}"/>
              </a:ext>
            </a:extLst>
          </p:cNvPr>
          <p:cNvSpPr>
            <a:spLocks noGrp="1"/>
          </p:cNvSpPr>
          <p:nvPr>
            <p:ph type="title" hasCustomPrompt="1"/>
          </p:nvPr>
        </p:nvSpPr>
        <p:spPr>
          <a:xfrm>
            <a:off x="246465" y="257770"/>
            <a:ext cx="11688683" cy="1266233"/>
          </a:xfrm>
          <a:prstGeom prst="rect">
            <a:avLst/>
          </a:prstGeom>
        </p:spPr>
        <p:txBody>
          <a:bodyPr/>
          <a:lstStyle>
            <a:lvl1pPr>
              <a:defRPr/>
            </a:lvl1pPr>
          </a:lstStyle>
          <a:p>
            <a:r>
              <a:rPr lang="en-US"/>
              <a:t>Title</a:t>
            </a:r>
          </a:p>
        </p:txBody>
      </p:sp>
      <p:cxnSp>
        <p:nvCxnSpPr>
          <p:cNvPr id="6" name="Straight Connector 5">
            <a:extLst>
              <a:ext uri="{FF2B5EF4-FFF2-40B4-BE49-F238E27FC236}">
                <a16:creationId xmlns:a16="http://schemas.microsoft.com/office/drawing/2014/main" id="{74B5939B-31F6-483B-94BB-35696C43876C}"/>
              </a:ext>
            </a:extLst>
          </p:cNvPr>
          <p:cNvCxnSpPr>
            <a:cxnSpLocks/>
          </p:cNvCxnSpPr>
          <p:nvPr userDrawn="1"/>
        </p:nvCxnSpPr>
        <p:spPr>
          <a:xfrm>
            <a:off x="5966311" y="6479539"/>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CF88758-41D3-4D5E-94EC-4E8EBB941777}"/>
              </a:ext>
            </a:extLst>
          </p:cNvPr>
          <p:cNvCxnSpPr>
            <a:cxnSpLocks/>
          </p:cNvCxnSpPr>
          <p:nvPr userDrawn="1"/>
        </p:nvCxnSpPr>
        <p:spPr>
          <a:xfrm>
            <a:off x="5966311" y="6479539"/>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01920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resentation content slide with subtitle and 3 columns - large middle column and extreme right column is a full-bleed image on light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1" y="1485900"/>
            <a:ext cx="2654859"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large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8" y="1485900"/>
            <a:ext cx="5458119"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descr="Placeholder area to insert an image">
            <a:extLst>
              <a:ext uri="{FF2B5EF4-FFF2-40B4-BE49-F238E27FC236}">
                <a16:creationId xmlns:a16="http://schemas.microsoft.com/office/drawing/2014/main" id="{CC598F34-3B3C-41DB-A5A0-7A9EFB837B88}"/>
              </a:ext>
            </a:extLst>
          </p:cNvPr>
          <p:cNvSpPr>
            <a:spLocks noGrp="1"/>
          </p:cNvSpPr>
          <p:nvPr>
            <p:ph type="pic" sz="quarter" idx="15" hasCustomPrompt="1"/>
          </p:nvPr>
        </p:nvSpPr>
        <p:spPr bwMode="gray">
          <a:xfrm>
            <a:off x="8974669" y="0"/>
            <a:ext cx="3217333" cy="68580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2" name="Title">
            <a:extLst>
              <a:ext uri="{FF2B5EF4-FFF2-40B4-BE49-F238E27FC236}">
                <a16:creationId xmlns:a16="http://schemas.microsoft.com/office/drawing/2014/main" id="{9627DE8C-9633-425D-9210-61740416FD9F}"/>
              </a:ext>
            </a:extLst>
          </p:cNvPr>
          <p:cNvSpPr>
            <a:spLocks noGrp="1"/>
          </p:cNvSpPr>
          <p:nvPr>
            <p:ph type="title"/>
          </p:nvPr>
        </p:nvSpPr>
        <p:spPr>
          <a:xfrm>
            <a:off x="563881" y="533401"/>
            <a:ext cx="2654859"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4" name="Subtitle">
            <a:extLst>
              <a:ext uri="{FF2B5EF4-FFF2-40B4-BE49-F238E27FC236}">
                <a16:creationId xmlns:a16="http://schemas.microsoft.com/office/drawing/2014/main" id="{F3C6028E-AC15-4055-88DE-9CB087950DF3}"/>
              </a:ext>
            </a:extLst>
          </p:cNvPr>
          <p:cNvSpPr>
            <a:spLocks noGrp="1"/>
          </p:cNvSpPr>
          <p:nvPr>
            <p:ph type="body" sz="quarter" idx="14" hasCustomPrompt="1"/>
          </p:nvPr>
        </p:nvSpPr>
        <p:spPr>
          <a:xfrm>
            <a:off x="3365738" y="533402"/>
            <a:ext cx="5458119" cy="514351"/>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9" name="Footer note">
            <a:extLst>
              <a:ext uri="{FF2B5EF4-FFF2-40B4-BE49-F238E27FC236}">
                <a16:creationId xmlns:a16="http://schemas.microsoft.com/office/drawing/2014/main" id="{F4892DA5-09EB-424C-BC00-86F179C31134}"/>
              </a:ext>
              <a:ext uri="{C183D7F6-B498-43B3-948B-1728B52AA6E4}">
                <adec:decorative xmlns:adec="http://schemas.microsoft.com/office/drawing/2017/decorative" val="1"/>
              </a:ext>
            </a:extLst>
          </p:cNvPr>
          <p:cNvSpPr>
            <a:spLocks noGrp="1"/>
          </p:cNvSpPr>
          <p:nvPr>
            <p:ph type="ftr" sz="quarter" idx="3"/>
          </p:nvPr>
        </p:nvSpPr>
        <p:spPr>
          <a:xfrm>
            <a:off x="856731"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1" defTabSz="761890">
              <a:defRPr/>
            </a:pPr>
            <a:r>
              <a:rPr lang="en-US"/>
              <a:t>Windows execution guidelines/Template/Section name</a:t>
            </a:r>
          </a:p>
        </p:txBody>
      </p:sp>
      <p:sp>
        <p:nvSpPr>
          <p:cNvPr id="11" name="Slide number">
            <a:extLst>
              <a:ext uri="{FF2B5EF4-FFF2-40B4-BE49-F238E27FC236}">
                <a16:creationId xmlns:a16="http://schemas.microsoft.com/office/drawing/2014/main" id="{02DF24AD-AC60-44CC-B80C-59AE92154E94}"/>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2" defTabSz="761890">
              <a:defRPr/>
            </a:pPr>
            <a:fld id="{81D60167-4931-47E6-BA6A-407CBD079E47}" type="slidenum">
              <a:rPr lang="en-US" smtClean="0"/>
              <a:pPr marL="21162" defTabSz="761890">
                <a:defRPr/>
              </a:pPr>
              <a:t>‹#›</a:t>
            </a:fld>
            <a:endParaRPr lang="en-US"/>
          </a:p>
        </p:txBody>
      </p:sp>
    </p:spTree>
    <p:extLst>
      <p:ext uri="{BB962C8B-B14F-4D97-AF65-F5344CB8AC3E}">
        <p14:creationId xmlns:p14="http://schemas.microsoft.com/office/powerpoint/2010/main" val="337785581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84A677-1BC1-F122-16A8-86012CC07B8D}"/>
              </a:ext>
            </a:extLst>
          </p:cNvPr>
          <p:cNvSpPr>
            <a:spLocks noGrp="1"/>
          </p:cNvSpPr>
          <p:nvPr>
            <p:ph type="title"/>
          </p:nvPr>
        </p:nvSpPr>
        <p:spPr>
          <a:xfrm>
            <a:off x="621620" y="668337"/>
            <a:ext cx="10939011" cy="711427"/>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603AECE9-7157-4D99-929C-F9E6EE2EBA6F}"/>
              </a:ext>
            </a:extLst>
          </p:cNvPr>
          <p:cNvSpPr>
            <a:spLocks noGrp="1"/>
          </p:cNvSpPr>
          <p:nvPr>
            <p:ph type="body" idx="1"/>
          </p:nvPr>
        </p:nvSpPr>
        <p:spPr>
          <a:xfrm>
            <a:off x="621620" y="1613127"/>
            <a:ext cx="5383213" cy="823912"/>
          </a:xfrm>
          <a:prstGeom prst="rect">
            <a:avLst/>
          </a:prstGeom>
        </p:spPr>
        <p:txBody>
          <a:bodyPr anchor="b"/>
          <a:lstStyle>
            <a:lvl1pPr marL="0" indent="0">
              <a:buNone/>
              <a:defRPr sz="2400" b="1"/>
            </a:lvl1pPr>
            <a:lvl2pPr marL="457171" indent="0">
              <a:buNone/>
              <a:defRPr sz="2000" b="1"/>
            </a:lvl2pPr>
            <a:lvl3pPr marL="914340" indent="0">
              <a:buNone/>
              <a:defRPr sz="1800" b="1"/>
            </a:lvl3pPr>
            <a:lvl4pPr marL="1371511" indent="0">
              <a:buNone/>
              <a:defRPr sz="1600" b="1"/>
            </a:lvl4pPr>
            <a:lvl5pPr marL="1828681" indent="0">
              <a:buNone/>
              <a:defRPr sz="1600" b="1"/>
            </a:lvl5pPr>
            <a:lvl6pPr marL="2285852" indent="0">
              <a:buNone/>
              <a:defRPr sz="1600" b="1"/>
            </a:lvl6pPr>
            <a:lvl7pPr marL="2743021" indent="0">
              <a:buNone/>
              <a:defRPr sz="1600" b="1"/>
            </a:lvl7pPr>
            <a:lvl8pPr marL="3200192" indent="0">
              <a:buNone/>
              <a:defRPr sz="1600" b="1"/>
            </a:lvl8pPr>
            <a:lvl9pPr marL="365736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3F2FE2D-29F5-4E56-DB54-BB1DB53B5A13}"/>
              </a:ext>
            </a:extLst>
          </p:cNvPr>
          <p:cNvSpPr>
            <a:spLocks noGrp="1"/>
          </p:cNvSpPr>
          <p:nvPr>
            <p:ph sz="half" idx="2"/>
          </p:nvPr>
        </p:nvSpPr>
        <p:spPr>
          <a:xfrm>
            <a:off x="621620" y="2437039"/>
            <a:ext cx="5383213"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014B7D7-7595-7F41-F71E-89F93CCA1C13}"/>
              </a:ext>
            </a:extLst>
          </p:cNvPr>
          <p:cNvSpPr>
            <a:spLocks noGrp="1"/>
          </p:cNvSpPr>
          <p:nvPr>
            <p:ph type="body" sz="quarter" idx="3"/>
          </p:nvPr>
        </p:nvSpPr>
        <p:spPr>
          <a:xfrm>
            <a:off x="6172201" y="1611765"/>
            <a:ext cx="5409724" cy="823912"/>
          </a:xfrm>
          <a:prstGeom prst="rect">
            <a:avLst/>
          </a:prstGeom>
        </p:spPr>
        <p:txBody>
          <a:bodyPr anchor="b"/>
          <a:lstStyle>
            <a:lvl1pPr marL="0" indent="0">
              <a:buNone/>
              <a:defRPr sz="2400" b="1"/>
            </a:lvl1pPr>
            <a:lvl2pPr marL="457171" indent="0">
              <a:buNone/>
              <a:defRPr sz="2000" b="1"/>
            </a:lvl2pPr>
            <a:lvl3pPr marL="914340" indent="0">
              <a:buNone/>
              <a:defRPr sz="1800" b="1"/>
            </a:lvl3pPr>
            <a:lvl4pPr marL="1371511" indent="0">
              <a:buNone/>
              <a:defRPr sz="1600" b="1"/>
            </a:lvl4pPr>
            <a:lvl5pPr marL="1828681" indent="0">
              <a:buNone/>
              <a:defRPr sz="1600" b="1"/>
            </a:lvl5pPr>
            <a:lvl6pPr marL="2285852" indent="0">
              <a:buNone/>
              <a:defRPr sz="1600" b="1"/>
            </a:lvl6pPr>
            <a:lvl7pPr marL="2743021" indent="0">
              <a:buNone/>
              <a:defRPr sz="1600" b="1"/>
            </a:lvl7pPr>
            <a:lvl8pPr marL="3200192" indent="0">
              <a:buNone/>
              <a:defRPr sz="1600" b="1"/>
            </a:lvl8pPr>
            <a:lvl9pPr marL="365736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754B5AD-96EA-FED3-FC7B-99243299B83F}"/>
              </a:ext>
            </a:extLst>
          </p:cNvPr>
          <p:cNvSpPr>
            <a:spLocks noGrp="1"/>
          </p:cNvSpPr>
          <p:nvPr>
            <p:ph sz="quarter" idx="4"/>
          </p:nvPr>
        </p:nvSpPr>
        <p:spPr>
          <a:xfrm>
            <a:off x="6172201" y="2435678"/>
            <a:ext cx="5409724"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308F3B4D-78D5-09EC-9454-BE19285B6071}"/>
              </a:ext>
            </a:extLst>
          </p:cNvPr>
          <p:cNvSpPr>
            <a:spLocks noGrp="1"/>
          </p:cNvSpPr>
          <p:nvPr>
            <p:ph type="ftr" sz="quarter" idx="11"/>
          </p:nvPr>
        </p:nvSpPr>
        <p:spPr>
          <a:xfrm>
            <a:off x="621847" y="6356352"/>
            <a:ext cx="4114800" cy="365125"/>
          </a:xfrm>
          <a:prstGeom prst="rect">
            <a:avLst/>
          </a:prstGeom>
        </p:spPr>
        <p:txBody>
          <a:bodyPr/>
          <a:lstStyle/>
          <a:p>
            <a:pPr>
              <a:defRPr/>
            </a:pPr>
            <a:endParaRPr lang="en-US">
              <a:solidFill>
                <a:srgbClr val="000000"/>
              </a:solidFill>
            </a:endParaRPr>
          </a:p>
        </p:txBody>
      </p:sp>
      <p:sp>
        <p:nvSpPr>
          <p:cNvPr id="9" name="Slide Number Placeholder 8">
            <a:extLst>
              <a:ext uri="{FF2B5EF4-FFF2-40B4-BE49-F238E27FC236}">
                <a16:creationId xmlns:a16="http://schemas.microsoft.com/office/drawing/2014/main" id="{CD9FB535-53C2-DB0C-014B-161D9A81FD96}"/>
              </a:ext>
            </a:extLst>
          </p:cNvPr>
          <p:cNvSpPr>
            <a:spLocks noGrp="1"/>
          </p:cNvSpPr>
          <p:nvPr>
            <p:ph type="sldNum" sz="quarter" idx="12"/>
          </p:nvPr>
        </p:nvSpPr>
        <p:spPr>
          <a:xfrm>
            <a:off x="8610600" y="6356352"/>
            <a:ext cx="2743200" cy="365125"/>
          </a:xfrm>
          <a:prstGeom prst="rect">
            <a:avLst/>
          </a:prstGeom>
        </p:spPr>
        <p:txBody>
          <a:bodyPr/>
          <a:lstStyle/>
          <a:p>
            <a:pPr>
              <a:defRPr/>
            </a:pPr>
            <a:fld id="{EB2FBD68-9F71-46B6-BDA1-B452958962FE}" type="slidenum">
              <a:rPr lang="en-US" smtClean="0">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20749268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12648" y="548640"/>
            <a:ext cx="11018520" cy="341953"/>
          </a:xfrm>
          <a:prstGeom prst="rect">
            <a:avLst/>
          </a:prstGeo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612648" y="1438275"/>
            <a:ext cx="3264408" cy="677108"/>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612648" y="2390776"/>
            <a:ext cx="3264408" cy="1937967"/>
          </a:xfrm>
          <a:prstGeom prst="rect">
            <a:avLst/>
          </a:prstGeom>
        </p:spPr>
        <p:txBody>
          <a:bodyPr wrap="square">
            <a:spAutoFit/>
          </a:bodyPr>
          <a:lstStyle>
            <a:lvl1pPr marL="176202" indent="-176202">
              <a:defRPr lang="en-US" sz="2000" dirty="0"/>
            </a:lvl1pPr>
            <a:lvl2pPr marL="322242" indent="-150804">
              <a:defRPr lang="en-US" sz="1800" dirty="0"/>
            </a:lvl2pPr>
            <a:lvl3pPr marL="466695" indent="-138104">
              <a:defRPr lang="en-US" dirty="0"/>
            </a:lvl3pPr>
            <a:lvl4pPr marL="595275" indent="-128580">
              <a:defRPr lang="en-US" dirty="0"/>
            </a:lvl4pPr>
            <a:lvl5pPr marL="731791" indent="-12223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77511" y="1442902"/>
            <a:ext cx="3264408" cy="677108"/>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77511" y="2388762"/>
            <a:ext cx="3264408" cy="1937967"/>
          </a:xfrm>
          <a:prstGeom prst="rect">
            <a:avLst/>
          </a:prstGeom>
        </p:spPr>
        <p:txBody>
          <a:bodyPr wrap="square">
            <a:spAutoFit/>
          </a:bodyPr>
          <a:lstStyle>
            <a:lvl1pPr marL="176202" indent="-176202">
              <a:defRPr lang="en-US" sz="2000" dirty="0"/>
            </a:lvl1pPr>
            <a:lvl2pPr marL="398437" indent="-169852">
              <a:defRPr lang="en-US" sz="1800" dirty="0"/>
            </a:lvl2pPr>
            <a:lvl3pPr marL="555589" indent="-157153">
              <a:defRPr lang="en-US" dirty="0"/>
            </a:lvl3pPr>
            <a:lvl4pPr marL="685756" indent="-136516">
              <a:defRPr lang="en-US" dirty="0"/>
            </a:lvl4pPr>
            <a:lvl5pPr marL="800048" indent="-111119">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937967"/>
          </a:xfrm>
          <a:prstGeom prst="rect">
            <a:avLst/>
          </a:prstGeom>
        </p:spPr>
        <p:txBody>
          <a:bodyPr wrap="square">
            <a:spAutoFit/>
          </a:bodyPr>
          <a:lstStyle>
            <a:lvl1pPr marL="176202" indent="-176202">
              <a:defRPr lang="en-US" sz="2000" dirty="0"/>
            </a:lvl1pPr>
            <a:lvl2pPr marL="398437" indent="-169852">
              <a:defRPr lang="en-US" sz="1800" dirty="0"/>
            </a:lvl2pPr>
            <a:lvl3pPr marL="555589" indent="-157153">
              <a:defRPr lang="en-US" dirty="0"/>
            </a:lvl3pPr>
            <a:lvl4pPr marL="685756" indent="-136516">
              <a:defRPr lang="en-US" dirty="0"/>
            </a:lvl4pPr>
            <a:lvl5pPr marL="800048" indent="-111119">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856090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12648" y="548640"/>
            <a:ext cx="11018520" cy="341953"/>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612650" y="1438278"/>
            <a:ext cx="2532063" cy="615553"/>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612648" y="2276477"/>
            <a:ext cx="2532063" cy="1773830"/>
          </a:xfrm>
          <a:prstGeom prst="rect">
            <a:avLst/>
          </a:prstGeom>
        </p:spPr>
        <p:txBody>
          <a:bodyPr wrap="square">
            <a:spAutoFit/>
          </a:bodyPr>
          <a:lstStyle>
            <a:lvl1pPr marL="141279" indent="-141279">
              <a:defRPr lang="en-US" sz="1800" dirty="0"/>
            </a:lvl1pPr>
            <a:lvl2pPr marL="285733" indent="-125405">
              <a:defRPr lang="en-US" sz="1600" dirty="0"/>
            </a:lvl2pPr>
            <a:lvl3pPr marL="438122" indent="-133341">
              <a:defRPr lang="en-US" dirty="0"/>
            </a:lvl3pPr>
            <a:lvl4pPr marL="566701" indent="-114292">
              <a:defRPr lang="en-US" dirty="0"/>
            </a:lvl4pPr>
            <a:lvl5pPr marL="685756" indent="-10953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40410" y="1438278"/>
            <a:ext cx="2533651" cy="615553"/>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41468" y="2276477"/>
            <a:ext cx="2532063" cy="1773830"/>
          </a:xfrm>
          <a:prstGeom prst="rect">
            <a:avLst/>
          </a:prstGeom>
        </p:spPr>
        <p:txBody>
          <a:bodyPr wrap="square">
            <a:spAutoFit/>
          </a:bodyPr>
          <a:lstStyle>
            <a:lvl1pPr marL="141279" indent="-141279">
              <a:defRPr lang="en-US" sz="1800" dirty="0"/>
            </a:lvl1pPr>
            <a:lvl2pPr marL="285733" indent="-125405">
              <a:defRPr lang="en-US" sz="1600" dirty="0"/>
            </a:lvl2pPr>
            <a:lvl3pPr marL="438122" indent="-133341">
              <a:defRPr lang="en-US" dirty="0"/>
            </a:lvl3pPr>
            <a:lvl4pPr marL="566701" indent="-114292">
              <a:defRPr lang="en-US" dirty="0"/>
            </a:lvl4pPr>
            <a:lvl5pPr marL="685756" indent="-10953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69759" y="1438278"/>
            <a:ext cx="2532063" cy="615553"/>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70287" y="2276477"/>
            <a:ext cx="2532063" cy="1773830"/>
          </a:xfrm>
          <a:prstGeom prst="rect">
            <a:avLst/>
          </a:prstGeom>
        </p:spPr>
        <p:txBody>
          <a:bodyPr wrap="square">
            <a:spAutoFit/>
          </a:bodyPr>
          <a:lstStyle>
            <a:lvl1pPr marL="141279" indent="-141279">
              <a:defRPr lang="en-US" sz="1800" dirty="0"/>
            </a:lvl1pPr>
            <a:lvl2pPr marL="285733" indent="-125405">
              <a:defRPr lang="en-US" sz="1600" dirty="0"/>
            </a:lvl2pPr>
            <a:lvl3pPr marL="438122" indent="-133341">
              <a:defRPr lang="en-US" dirty="0"/>
            </a:lvl3pPr>
            <a:lvl4pPr marL="566701" indent="-114292">
              <a:defRPr lang="en-US" dirty="0"/>
            </a:lvl4pPr>
            <a:lvl5pPr marL="685756" indent="-10953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97518" y="1438278"/>
            <a:ext cx="2533651" cy="615553"/>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99107" y="2276477"/>
            <a:ext cx="2532063" cy="1773830"/>
          </a:xfrm>
          <a:prstGeom prst="rect">
            <a:avLst/>
          </a:prstGeom>
        </p:spPr>
        <p:txBody>
          <a:bodyPr wrap="square">
            <a:spAutoFit/>
          </a:bodyPr>
          <a:lstStyle>
            <a:lvl1pPr marL="141279" indent="-141279">
              <a:defRPr lang="en-US" sz="1800" dirty="0"/>
            </a:lvl1pPr>
            <a:lvl2pPr marL="285733" indent="-125405">
              <a:defRPr lang="en-US" sz="1600" dirty="0"/>
            </a:lvl2pPr>
            <a:lvl3pPr marL="438122" indent="-133341">
              <a:defRPr lang="en-US" dirty="0"/>
            </a:lvl3pPr>
            <a:lvl4pPr marL="566701" indent="-114292">
              <a:defRPr lang="en-US" dirty="0"/>
            </a:lvl4pPr>
            <a:lvl5pPr marL="685756" indent="-10953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633079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12648" y="548640"/>
            <a:ext cx="11018520" cy="341953"/>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612648" y="1438277"/>
            <a:ext cx="1965960"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612648" y="2283117"/>
            <a:ext cx="1965960" cy="1797394"/>
          </a:xfrm>
          <a:prstGeom prst="rect">
            <a:avLst/>
          </a:prstGeom>
        </p:spPr>
        <p:txBody>
          <a:bodyPr wrap="square">
            <a:spAutoFit/>
          </a:bodyPr>
          <a:lstStyle>
            <a:lvl1pPr marL="141279" indent="-141279">
              <a:defRPr lang="en-US" sz="1500" dirty="0"/>
            </a:lvl1pPr>
            <a:lvl2pPr marL="285733" indent="-125405">
              <a:defRPr lang="en-US" sz="1400" dirty="0"/>
            </a:lvl2pPr>
            <a:lvl3pPr marL="438122" indent="-133341">
              <a:defRPr lang="en-US" sz="1400" dirty="0"/>
            </a:lvl3pPr>
            <a:lvl4pPr marL="566701" indent="-114292">
              <a:defRPr lang="en-US" sz="1200" dirty="0"/>
            </a:lvl4pPr>
            <a:lvl5pPr marL="685756" indent="-109531">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75788" y="1438277"/>
            <a:ext cx="1965960"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75788" y="2276477"/>
            <a:ext cx="1965960" cy="1797394"/>
          </a:xfrm>
          <a:prstGeom prst="rect">
            <a:avLst/>
          </a:prstGeom>
        </p:spPr>
        <p:txBody>
          <a:bodyPr wrap="square">
            <a:spAutoFit/>
          </a:bodyPr>
          <a:lstStyle>
            <a:lvl1pPr marL="141279" indent="-141279">
              <a:defRPr lang="en-US" sz="1500" dirty="0"/>
            </a:lvl1pPr>
            <a:lvl2pPr marL="285733" indent="-125405">
              <a:defRPr lang="en-US" sz="1400" dirty="0"/>
            </a:lvl2pPr>
            <a:lvl3pPr marL="438122" indent="-133341">
              <a:defRPr lang="en-US" sz="1400" dirty="0"/>
            </a:lvl3pPr>
            <a:lvl4pPr marL="566701" indent="-114292">
              <a:defRPr lang="en-US" sz="1200" dirty="0"/>
            </a:lvl4pPr>
            <a:lvl5pPr marL="685756" indent="-109531">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38928" y="1438277"/>
            <a:ext cx="1965960"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38928" y="2283117"/>
            <a:ext cx="1965960" cy="1797394"/>
          </a:xfrm>
          <a:prstGeom prst="rect">
            <a:avLst/>
          </a:prstGeom>
        </p:spPr>
        <p:txBody>
          <a:bodyPr wrap="square">
            <a:spAutoFit/>
          </a:bodyPr>
          <a:lstStyle>
            <a:lvl1pPr marL="141279" indent="-141279">
              <a:defRPr lang="en-US" sz="1500" dirty="0"/>
            </a:lvl1pPr>
            <a:lvl2pPr marL="285733" indent="-125405">
              <a:defRPr lang="en-US" sz="1400" dirty="0"/>
            </a:lvl2pPr>
            <a:lvl3pPr marL="438122" indent="-133341">
              <a:defRPr lang="en-US" sz="1400" dirty="0"/>
            </a:lvl3pPr>
            <a:lvl4pPr marL="566701" indent="-114292">
              <a:defRPr lang="en-US" sz="1200" dirty="0"/>
            </a:lvl4pPr>
            <a:lvl5pPr marL="685756" indent="-109531">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402068" y="1438277"/>
            <a:ext cx="1965960"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402068" y="2276477"/>
            <a:ext cx="1965960" cy="1797394"/>
          </a:xfrm>
          <a:prstGeom prst="rect">
            <a:avLst/>
          </a:prstGeom>
        </p:spPr>
        <p:txBody>
          <a:bodyPr wrap="square">
            <a:spAutoFit/>
          </a:bodyPr>
          <a:lstStyle>
            <a:lvl1pPr marL="141279" indent="-141279">
              <a:defRPr lang="en-US" sz="1500" dirty="0"/>
            </a:lvl1pPr>
            <a:lvl2pPr marL="285733" indent="-125405">
              <a:defRPr lang="en-US" sz="1400" dirty="0"/>
            </a:lvl2pPr>
            <a:lvl3pPr marL="438122" indent="-133341">
              <a:defRPr lang="en-US" sz="1400" dirty="0"/>
            </a:lvl3pPr>
            <a:lvl4pPr marL="566701" indent="-114292">
              <a:defRPr lang="en-US" sz="1200" dirty="0"/>
            </a:lvl4pPr>
            <a:lvl5pPr marL="685756" indent="-109531">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65208" y="1438277"/>
            <a:ext cx="1965960"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65208" y="2276477"/>
            <a:ext cx="1965960" cy="1797394"/>
          </a:xfrm>
          <a:prstGeom prst="rect">
            <a:avLst/>
          </a:prstGeom>
        </p:spPr>
        <p:txBody>
          <a:bodyPr wrap="square">
            <a:spAutoFit/>
          </a:bodyPr>
          <a:lstStyle>
            <a:lvl1pPr marL="141279" indent="-141279">
              <a:defRPr lang="en-US" sz="1500" dirty="0"/>
            </a:lvl1pPr>
            <a:lvl2pPr marL="285733" indent="-125405">
              <a:defRPr lang="en-US" sz="1400" dirty="0"/>
            </a:lvl2pPr>
            <a:lvl3pPr marL="438122" indent="-133341">
              <a:defRPr lang="en-US" sz="1400" dirty="0"/>
            </a:lvl3pPr>
            <a:lvl4pPr marL="566701" indent="-114292">
              <a:defRPr lang="en-US" sz="1200" dirty="0"/>
            </a:lvl4pPr>
            <a:lvl5pPr marL="685756" indent="-109531">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991342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12648" y="548640"/>
            <a:ext cx="11018520" cy="341953"/>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3" y="1438278"/>
            <a:ext cx="2532063" cy="615553"/>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3" y="2283118"/>
            <a:ext cx="2532063" cy="1773830"/>
          </a:xfrm>
          <a:prstGeom prst="rect">
            <a:avLst/>
          </a:prstGeom>
        </p:spPr>
        <p:txBody>
          <a:bodyPr wrap="square">
            <a:spAutoFit/>
          </a:bodyPr>
          <a:lstStyle>
            <a:lvl1pPr marL="141279" indent="-141279">
              <a:defRPr lang="en-US" sz="1800" dirty="0"/>
            </a:lvl1pPr>
            <a:lvl2pPr marL="285733" indent="-125405">
              <a:defRPr lang="en-US" sz="1600" dirty="0"/>
            </a:lvl2pPr>
            <a:lvl3pPr marL="438122" indent="-133341">
              <a:defRPr lang="en-US" dirty="0"/>
            </a:lvl3pPr>
            <a:lvl4pPr marL="566701" indent="-114292">
              <a:defRPr lang="en-US" dirty="0"/>
            </a:lvl4pPr>
            <a:lvl5pPr marL="685756" indent="-10953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6" y="1438278"/>
            <a:ext cx="2533651" cy="615553"/>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7" y="2276478"/>
            <a:ext cx="2532063" cy="1773830"/>
          </a:xfrm>
          <a:prstGeom prst="rect">
            <a:avLst/>
          </a:prstGeom>
        </p:spPr>
        <p:txBody>
          <a:bodyPr wrap="square">
            <a:spAutoFit/>
          </a:bodyPr>
          <a:lstStyle>
            <a:lvl1pPr marL="141279" indent="-141279">
              <a:defRPr lang="en-US" sz="1800" dirty="0"/>
            </a:lvl1pPr>
            <a:lvl2pPr marL="285733" indent="-125405">
              <a:defRPr lang="en-US" sz="1600" dirty="0"/>
            </a:lvl2pPr>
            <a:lvl3pPr marL="438122" indent="-133341">
              <a:defRPr lang="en-US" dirty="0"/>
            </a:lvl3pPr>
            <a:lvl4pPr marL="566701" indent="-114292">
              <a:defRPr lang="en-US" dirty="0"/>
            </a:lvl4pPr>
            <a:lvl5pPr marL="685756" indent="-10953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10" y="1438278"/>
            <a:ext cx="2532063" cy="615553"/>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10" y="2283118"/>
            <a:ext cx="2532063" cy="1773830"/>
          </a:xfrm>
          <a:prstGeom prst="rect">
            <a:avLst/>
          </a:prstGeom>
        </p:spPr>
        <p:txBody>
          <a:bodyPr wrap="square">
            <a:spAutoFit/>
          </a:bodyPr>
          <a:lstStyle>
            <a:lvl1pPr marL="141279" indent="-141279">
              <a:defRPr lang="en-US" sz="1800" dirty="0"/>
            </a:lvl1pPr>
            <a:lvl2pPr marL="285733" indent="-125405">
              <a:defRPr lang="en-US" sz="1600" dirty="0"/>
            </a:lvl2pPr>
            <a:lvl3pPr marL="438122" indent="-133341">
              <a:defRPr lang="en-US" dirty="0"/>
            </a:lvl3pPr>
            <a:lvl4pPr marL="566701" indent="-114292">
              <a:defRPr lang="en-US" dirty="0"/>
            </a:lvl4pPr>
            <a:lvl5pPr marL="685756" indent="-10953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4" y="1438278"/>
            <a:ext cx="2533651" cy="615553"/>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8"/>
            <a:ext cx="2532063" cy="1773830"/>
          </a:xfrm>
          <a:prstGeom prst="rect">
            <a:avLst/>
          </a:prstGeom>
        </p:spPr>
        <p:txBody>
          <a:bodyPr wrap="square">
            <a:spAutoFit/>
          </a:bodyPr>
          <a:lstStyle>
            <a:lvl1pPr marL="141279" indent="-141279">
              <a:defRPr lang="en-US" sz="1800" dirty="0"/>
            </a:lvl1pPr>
            <a:lvl2pPr marL="285733" indent="-125405">
              <a:defRPr lang="en-US" sz="1600" dirty="0"/>
            </a:lvl2pPr>
            <a:lvl3pPr marL="438122" indent="-133341">
              <a:defRPr lang="en-US" dirty="0"/>
            </a:lvl3pPr>
            <a:lvl4pPr marL="566701" indent="-114292">
              <a:defRPr lang="en-US" dirty="0"/>
            </a:lvl4pPr>
            <a:lvl5pPr marL="685756" indent="-10953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984788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FFD60-6610-367D-A618-6A5A03244C3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759D0A2-638A-EB21-5EA8-5736E501DA1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0942427-398F-F71F-EB93-27695E3E137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AACC540-147C-B63B-0743-83647AE5A4ED}"/>
              </a:ext>
            </a:extLst>
          </p:cNvPr>
          <p:cNvSpPr>
            <a:spLocks noGrp="1"/>
          </p:cNvSpPr>
          <p:nvPr>
            <p:ph type="dt" sz="half" idx="10"/>
          </p:nvPr>
        </p:nvSpPr>
        <p:spPr/>
        <p:txBody>
          <a:bodyPr/>
          <a:lstStyle/>
          <a:p>
            <a:fld id="{2010D01F-1BC2-4E69-9F2A-DDC2A48BBAEC}" type="datetimeFigureOut">
              <a:rPr lang="en-US" smtClean="0"/>
              <a:t>4/9/2025</a:t>
            </a:fld>
            <a:endParaRPr lang="en-US"/>
          </a:p>
        </p:txBody>
      </p:sp>
      <p:sp>
        <p:nvSpPr>
          <p:cNvPr id="6" name="Footer Placeholder 5">
            <a:extLst>
              <a:ext uri="{FF2B5EF4-FFF2-40B4-BE49-F238E27FC236}">
                <a16:creationId xmlns:a16="http://schemas.microsoft.com/office/drawing/2014/main" id="{90C67018-851F-8E2E-56D4-FD53ADB11D8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7AFA6FA-F0FE-A612-5CD0-3B69D9FD6D50}"/>
              </a:ext>
            </a:extLst>
          </p:cNvPr>
          <p:cNvSpPr>
            <a:spLocks noGrp="1"/>
          </p:cNvSpPr>
          <p:nvPr>
            <p:ph type="sldNum" sz="quarter" idx="12"/>
          </p:nvPr>
        </p:nvSpPr>
        <p:spPr/>
        <p:txBody>
          <a:bodyPr/>
          <a:lstStyle/>
          <a:p>
            <a:fld id="{90623A98-DEB9-4ABD-BEA8-088375254FC1}" type="slidenum">
              <a:rPr lang="en-US" smtClean="0"/>
              <a:t>‹#›</a:t>
            </a:fld>
            <a:endParaRPr lang="en-US"/>
          </a:p>
        </p:txBody>
      </p:sp>
    </p:spTree>
    <p:extLst>
      <p:ext uri="{BB962C8B-B14F-4D97-AF65-F5344CB8AC3E}">
        <p14:creationId xmlns:p14="http://schemas.microsoft.com/office/powerpoint/2010/main" val="262260446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Body | No Image">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hasCustomPrompt="1"/>
          </p:nvPr>
        </p:nvSpPr>
        <p:spPr>
          <a:xfrm>
            <a:off x="612649" y="548642"/>
            <a:ext cx="10948308" cy="655411"/>
          </a:xfrm>
          <a:prstGeom prst="rect">
            <a:avLst/>
          </a:prstGeom>
        </p:spPr>
        <p:txBody>
          <a:bodyPr/>
          <a:lstStyle>
            <a:lvl1pPr>
              <a:defRPr/>
            </a:lvl1pPr>
          </a:lstStyle>
          <a:p>
            <a:r>
              <a:rPr lang="en-US"/>
              <a:t>Body copy headline</a:t>
            </a:r>
          </a:p>
        </p:txBody>
      </p:sp>
      <p:sp>
        <p:nvSpPr>
          <p:cNvPr id="5" name="Text Placeholder 10">
            <a:extLst>
              <a:ext uri="{FF2B5EF4-FFF2-40B4-BE49-F238E27FC236}">
                <a16:creationId xmlns:a16="http://schemas.microsoft.com/office/drawing/2014/main" id="{AAAE175C-C7B8-43EF-B31B-174A3436D2E1}"/>
              </a:ext>
            </a:extLst>
          </p:cNvPr>
          <p:cNvSpPr>
            <a:spLocks noGrp="1"/>
          </p:cNvSpPr>
          <p:nvPr>
            <p:ph type="body" sz="quarter" idx="15" hasCustomPrompt="1"/>
          </p:nvPr>
        </p:nvSpPr>
        <p:spPr>
          <a:xfrm>
            <a:off x="585789" y="1967375"/>
            <a:ext cx="3273425" cy="563173"/>
          </a:xfrm>
          <a:prstGeom prst="rect">
            <a:avLst/>
          </a:prstGeom>
        </p:spPr>
        <p:txBody>
          <a:bodyPr/>
          <a:lstStyle>
            <a:lvl1pPr marL="0" indent="0">
              <a:buNone/>
              <a:defRPr sz="1600">
                <a:latin typeface="+mn-lt"/>
              </a:defRPr>
            </a:lvl1pPr>
            <a:lvl2pPr marL="228585" indent="0">
              <a:buNone/>
              <a:defRPr sz="1600">
                <a:latin typeface="+mn-lt"/>
              </a:defRPr>
            </a:lvl2pPr>
            <a:lvl3pPr marL="457171" indent="0">
              <a:buNone/>
              <a:defRPr sz="1600">
                <a:latin typeface="+mn-lt"/>
              </a:defRPr>
            </a:lvl3pPr>
            <a:lvl4pPr marL="661944" indent="0">
              <a:buNone/>
              <a:defRPr sz="1600">
                <a:latin typeface="+mn-lt"/>
              </a:defRPr>
            </a:lvl4pPr>
            <a:lvl5pPr marL="855607" indent="0">
              <a:buNone/>
              <a:defRPr sz="1600">
                <a:latin typeface="+mn-lt"/>
              </a:defRPr>
            </a:lvl5pPr>
          </a:lstStyle>
          <a:p>
            <a:pPr lvl="0"/>
            <a:r>
              <a:rPr lang="en-US"/>
              <a:t>Body copy</a:t>
            </a:r>
          </a:p>
        </p:txBody>
      </p:sp>
      <p:sp>
        <p:nvSpPr>
          <p:cNvPr id="2" name="Footer Placeholder 1">
            <a:extLst>
              <a:ext uri="{FF2B5EF4-FFF2-40B4-BE49-F238E27FC236}">
                <a16:creationId xmlns:a16="http://schemas.microsoft.com/office/drawing/2014/main" id="{50D71B7A-2EE9-49FF-8F36-377FDDD8F67E}"/>
              </a:ext>
            </a:extLst>
          </p:cNvPr>
          <p:cNvSpPr>
            <a:spLocks noGrp="1"/>
          </p:cNvSpPr>
          <p:nvPr>
            <p:ph type="ftr" sz="quarter" idx="16"/>
          </p:nvPr>
        </p:nvSpPr>
        <p:spPr>
          <a:xfrm>
            <a:off x="621847" y="6356352"/>
            <a:ext cx="4114800" cy="365125"/>
          </a:xfrm>
          <a:prstGeom prst="rect">
            <a:avLst/>
          </a:prstGeom>
        </p:spPr>
        <p:txBody>
          <a:bodyPr/>
          <a:lstStyle/>
          <a:p>
            <a:pPr>
              <a:defRPr/>
            </a:pPr>
            <a:r>
              <a:rPr lang="en-US">
                <a:solidFill>
                  <a:srgbClr val="000000"/>
                </a:solidFill>
              </a:rPr>
              <a:t>Strictly Confidential - Microsoft Internal-Only</a:t>
            </a:r>
          </a:p>
        </p:txBody>
      </p:sp>
    </p:spTree>
    <p:extLst>
      <p:ext uri="{BB962C8B-B14F-4D97-AF65-F5344CB8AC3E}">
        <p14:creationId xmlns:p14="http://schemas.microsoft.com/office/powerpoint/2010/main" val="3445868942"/>
      </p:ext>
    </p:extLst>
  </p:cSld>
  <p:clrMapOvr>
    <a:masterClrMapping/>
  </p:clrMapOvr>
  <p:transition>
    <p:fade/>
  </p:transition>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12648" y="548640"/>
            <a:ext cx="11018520" cy="341953"/>
          </a:xfrm>
          <a:prstGeom prst="rect">
            <a:avLst/>
          </a:prstGeo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937967"/>
          </a:xfrm>
          <a:prstGeom prst="rect">
            <a:avLst/>
          </a:prstGeom>
        </p:spPr>
        <p:txBody>
          <a:bodyPr wrap="square">
            <a:spAutoFit/>
          </a:bodyPr>
          <a:lstStyle>
            <a:lvl1pPr marL="176202" indent="-176202">
              <a:defRPr lang="en-US" sz="2000" dirty="0"/>
            </a:lvl1pPr>
            <a:lvl2pPr marL="322242" indent="-150804">
              <a:defRPr lang="en-US" sz="1800" dirty="0"/>
            </a:lvl2pPr>
            <a:lvl3pPr marL="466695" indent="-138104">
              <a:defRPr lang="en-US" dirty="0"/>
            </a:lvl3pPr>
            <a:lvl4pPr marL="595275" indent="-128580">
              <a:defRPr lang="en-US" dirty="0"/>
            </a:lvl4pPr>
            <a:lvl5pPr marL="731791" indent="-12223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937967"/>
          </a:xfrm>
          <a:prstGeom prst="rect">
            <a:avLst/>
          </a:prstGeom>
        </p:spPr>
        <p:txBody>
          <a:bodyPr wrap="square">
            <a:spAutoFit/>
          </a:bodyPr>
          <a:lstStyle>
            <a:lvl1pPr marL="176202" indent="-176202">
              <a:defRPr lang="en-US" sz="2000" dirty="0"/>
            </a:lvl1pPr>
            <a:lvl2pPr marL="398437" indent="-169852">
              <a:defRPr lang="en-US" sz="1800" dirty="0"/>
            </a:lvl2pPr>
            <a:lvl3pPr marL="555589" indent="-157153">
              <a:defRPr lang="en-US" dirty="0"/>
            </a:lvl3pPr>
            <a:lvl4pPr marL="685756" indent="-136516">
              <a:defRPr lang="en-US" dirty="0"/>
            </a:lvl4pPr>
            <a:lvl5pPr marL="800048" indent="-111119">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937967"/>
          </a:xfrm>
          <a:prstGeom prst="rect">
            <a:avLst/>
          </a:prstGeom>
        </p:spPr>
        <p:txBody>
          <a:bodyPr wrap="square">
            <a:spAutoFit/>
          </a:bodyPr>
          <a:lstStyle>
            <a:lvl1pPr marL="176202" indent="-176202">
              <a:defRPr lang="en-US" sz="2000" dirty="0"/>
            </a:lvl1pPr>
            <a:lvl2pPr marL="398437" indent="-169852">
              <a:defRPr lang="en-US" sz="1800" dirty="0"/>
            </a:lvl2pPr>
            <a:lvl3pPr marL="555589" indent="-157153">
              <a:defRPr lang="en-US" dirty="0"/>
            </a:lvl3pPr>
            <a:lvl4pPr marL="685756" indent="-136516">
              <a:defRPr lang="en-US" dirty="0"/>
            </a:lvl4pPr>
            <a:lvl5pPr marL="800048" indent="-111119">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863601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 column layout">
    <p:spTree>
      <p:nvGrpSpPr>
        <p:cNvPr id="1" name=""/>
        <p:cNvGrpSpPr/>
        <p:nvPr/>
      </p:nvGrpSpPr>
      <p:grpSpPr>
        <a:xfrm>
          <a:off x="0" y="0"/>
          <a:ext cx="0" cy="0"/>
          <a:chOff x="0" y="0"/>
          <a:chExt cx="0" cy="0"/>
        </a:xfrm>
      </p:grpSpPr>
      <p:sp>
        <p:nvSpPr>
          <p:cNvPr id="10" name="Text Placeholder 10">
            <a:extLst>
              <a:ext uri="{FF2B5EF4-FFF2-40B4-BE49-F238E27FC236}">
                <a16:creationId xmlns:a16="http://schemas.microsoft.com/office/drawing/2014/main" id="{93A6509B-67D5-4543-A931-E174ADEAA09A}"/>
              </a:ext>
            </a:extLst>
          </p:cNvPr>
          <p:cNvSpPr>
            <a:spLocks noGrp="1"/>
          </p:cNvSpPr>
          <p:nvPr>
            <p:ph type="body" sz="quarter" idx="14" hasCustomPrompt="1"/>
          </p:nvPr>
        </p:nvSpPr>
        <p:spPr>
          <a:xfrm>
            <a:off x="381001" y="392151"/>
            <a:ext cx="9486900" cy="375717"/>
          </a:xfrm>
          <a:prstGeom prst="rect">
            <a:avLst/>
          </a:prstGeom>
        </p:spPr>
        <p:txBody>
          <a:bodyPr>
            <a:noAutofit/>
          </a:bodyPr>
          <a:lstStyle>
            <a:lvl1pPr marL="0" indent="0">
              <a:buNone/>
              <a:defRPr sz="1800" b="0">
                <a:solidFill>
                  <a:schemeClr val="accent4"/>
                </a:solidFill>
                <a:latin typeface="Segoe UI" panose="020B0502040204020203" pitchFamily="34" charset="0"/>
                <a:cs typeface="Segoe UI" panose="020B0502040204020203" pitchFamily="34" charset="0"/>
              </a:defRPr>
            </a:lvl1pPr>
          </a:lstStyle>
          <a:p>
            <a:pPr lvl="0"/>
            <a:r>
              <a:rPr lang="en-US"/>
              <a:t>Click to edit subhead</a:t>
            </a:r>
          </a:p>
        </p:txBody>
      </p:sp>
      <p:sp>
        <p:nvSpPr>
          <p:cNvPr id="9" name="Title 1">
            <a:extLst>
              <a:ext uri="{FF2B5EF4-FFF2-40B4-BE49-F238E27FC236}">
                <a16:creationId xmlns:a16="http://schemas.microsoft.com/office/drawing/2014/main" id="{E6CC8D96-9ACF-48C7-999F-4F9282FB8041}"/>
              </a:ext>
            </a:extLst>
          </p:cNvPr>
          <p:cNvSpPr>
            <a:spLocks noGrp="1"/>
          </p:cNvSpPr>
          <p:nvPr>
            <p:ph type="title" hasCustomPrompt="1"/>
          </p:nvPr>
        </p:nvSpPr>
        <p:spPr>
          <a:xfrm>
            <a:off x="381001" y="767868"/>
            <a:ext cx="9486900" cy="840925"/>
          </a:xfrm>
          <a:prstGeom prst="rect">
            <a:avLst/>
          </a:prstGeom>
        </p:spPr>
        <p:txBody>
          <a:bodyPr anchor="t">
            <a:noAutofit/>
          </a:bodyPr>
          <a:lstStyle>
            <a:lvl1pPr>
              <a:defRPr sz="2600" b="1" i="0">
                <a:latin typeface="Segoe UI" panose="020B0502040204020203" pitchFamily="34" charset="0"/>
                <a:cs typeface="Segoe UI" panose="020B0502040204020203" pitchFamily="34" charset="0"/>
              </a:defRPr>
            </a:lvl1pPr>
          </a:lstStyle>
          <a:p>
            <a:r>
              <a:rPr lang="en-US"/>
              <a:t>2 column layout</a:t>
            </a:r>
          </a:p>
        </p:txBody>
      </p:sp>
      <p:sp>
        <p:nvSpPr>
          <p:cNvPr id="6" name="Content Placeholder 5">
            <a:extLst>
              <a:ext uri="{FF2B5EF4-FFF2-40B4-BE49-F238E27FC236}">
                <a16:creationId xmlns:a16="http://schemas.microsoft.com/office/drawing/2014/main" id="{F5BFF4D4-2A88-9146-88C7-E0EDF8B3A47A}"/>
              </a:ext>
            </a:extLst>
          </p:cNvPr>
          <p:cNvSpPr>
            <a:spLocks noGrp="1"/>
          </p:cNvSpPr>
          <p:nvPr>
            <p:ph sz="quarter" idx="15"/>
          </p:nvPr>
        </p:nvSpPr>
        <p:spPr>
          <a:xfrm>
            <a:off x="381002" y="1608033"/>
            <a:ext cx="5600699" cy="4578456"/>
          </a:xfrm>
          <a:prstGeom prst="rect">
            <a:avLst/>
          </a:prstGeom>
        </p:spPr>
        <p:txBody>
          <a:bodyPr/>
          <a:lstStyle>
            <a:lvl1pPr>
              <a:lnSpc>
                <a:spcPct val="120000"/>
              </a:lnSpc>
              <a:defRPr/>
            </a:lvl1pPr>
            <a:lvl2pPr>
              <a:lnSpc>
                <a:spcPct val="120000"/>
              </a:lnSpc>
              <a:defRPr/>
            </a:lvl2pPr>
            <a:lvl3pPr>
              <a:lnSpc>
                <a:spcPct val="120000"/>
              </a:lnSpc>
              <a:defRPr/>
            </a:lvl3pPr>
            <a:lvl4pPr>
              <a:lnSpc>
                <a:spcPct val="120000"/>
              </a:lnSpc>
              <a:defRPr/>
            </a:lvl4pPr>
            <a:lvl5pPr>
              <a:lnSpc>
                <a:spcPct val="12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5">
            <a:extLst>
              <a:ext uri="{FF2B5EF4-FFF2-40B4-BE49-F238E27FC236}">
                <a16:creationId xmlns:a16="http://schemas.microsoft.com/office/drawing/2014/main" id="{B459AF65-9AE6-694C-A9EB-59AF8BC4C6EC}"/>
              </a:ext>
            </a:extLst>
          </p:cNvPr>
          <p:cNvSpPr>
            <a:spLocks noGrp="1"/>
          </p:cNvSpPr>
          <p:nvPr>
            <p:ph sz="quarter" idx="16"/>
          </p:nvPr>
        </p:nvSpPr>
        <p:spPr>
          <a:xfrm>
            <a:off x="6210302" y="1608033"/>
            <a:ext cx="5600699" cy="4578456"/>
          </a:xfrm>
          <a:prstGeom prst="rect">
            <a:avLst/>
          </a:prstGeom>
        </p:spPr>
        <p:txBody>
          <a:bodyPr/>
          <a:lstStyle>
            <a:lvl1pPr>
              <a:lnSpc>
                <a:spcPct val="120000"/>
              </a:lnSpc>
              <a:defRPr/>
            </a:lvl1pPr>
            <a:lvl2pPr>
              <a:lnSpc>
                <a:spcPct val="120000"/>
              </a:lnSpc>
              <a:defRPr/>
            </a:lvl2pPr>
            <a:lvl3pPr>
              <a:lnSpc>
                <a:spcPct val="120000"/>
              </a:lnSpc>
              <a:defRPr/>
            </a:lvl3pPr>
            <a:lvl4pPr>
              <a:lnSpc>
                <a:spcPct val="120000"/>
              </a:lnSpc>
              <a:defRPr/>
            </a:lvl4pPr>
            <a:lvl5pPr>
              <a:lnSpc>
                <a:spcPct val="12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4">
            <a:extLst>
              <a:ext uri="{FF2B5EF4-FFF2-40B4-BE49-F238E27FC236}">
                <a16:creationId xmlns:a16="http://schemas.microsoft.com/office/drawing/2014/main" id="{0D4AEE57-9B5B-9948-BF1E-2DF9509037AD}"/>
              </a:ext>
            </a:extLst>
          </p:cNvPr>
          <p:cNvSpPr>
            <a:spLocks noGrp="1"/>
          </p:cNvSpPr>
          <p:nvPr>
            <p:ph type="sldNum" sz="quarter" idx="4"/>
          </p:nvPr>
        </p:nvSpPr>
        <p:spPr>
          <a:xfrm>
            <a:off x="11789735" y="6448427"/>
            <a:ext cx="381000" cy="409575"/>
          </a:xfrm>
          <a:prstGeom prst="rect">
            <a:avLst/>
          </a:prstGeom>
        </p:spPr>
        <p:txBody>
          <a:bodyPr vert="horz" lIns="0" tIns="0" rIns="0" bIns="0" rtlCol="0" anchor="t"/>
          <a:lstStyle>
            <a:lvl1pPr algn="l">
              <a:defRPr sz="1200" b="0" i="0" spc="0">
                <a:solidFill>
                  <a:schemeClr val="tx1">
                    <a:tint val="75000"/>
                  </a:schemeClr>
                </a:solidFill>
                <a:latin typeface="Segoe UI" panose="020B0502040204020203" pitchFamily="34" charset="0"/>
                <a:cs typeface="Segoe UI" panose="020B0502040204020203" pitchFamily="34" charset="0"/>
              </a:defRPr>
            </a:lvl1pPr>
          </a:lstStyle>
          <a:p>
            <a:pPr>
              <a:defRPr/>
            </a:pPr>
            <a:fld id="{3E0FEC93-3AD6-4EB3-8926-0C45EF6FA578}" type="slidenum">
              <a:rPr lang="en-US" smtClean="0">
                <a:solidFill>
                  <a:srgbClr val="000000">
                    <a:tint val="75000"/>
                  </a:srgbClr>
                </a:solidFill>
              </a:rPr>
              <a:pPr>
                <a:defRPr/>
              </a:pPr>
              <a:t>‹#›</a:t>
            </a:fld>
            <a:endParaRPr lang="en-US">
              <a:solidFill>
                <a:srgbClr val="000000">
                  <a:tint val="75000"/>
                </a:srgbClr>
              </a:solidFill>
            </a:endParaRPr>
          </a:p>
        </p:txBody>
      </p:sp>
    </p:spTree>
    <p:extLst>
      <p:ext uri="{BB962C8B-B14F-4D97-AF65-F5344CB8AC3E}">
        <p14:creationId xmlns:p14="http://schemas.microsoft.com/office/powerpoint/2010/main" val="392914566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341953"/>
          </a:xfrm>
          <a:prstGeom prst="rect">
            <a:avLst/>
          </a:prstGeo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937967"/>
          </a:xfrm>
          <a:prstGeom prst="rect">
            <a:avLst/>
          </a:prstGeom>
        </p:spPr>
        <p:txBody>
          <a:bodyPr wrap="square">
            <a:spAutoFit/>
          </a:bodyPr>
          <a:lstStyle>
            <a:lvl1pPr marL="176202" indent="-176202">
              <a:defRPr lang="en-US" sz="2000" dirty="0"/>
            </a:lvl1pPr>
            <a:lvl2pPr marL="322242" indent="-150804">
              <a:defRPr lang="en-US" sz="1800" dirty="0"/>
            </a:lvl2pPr>
            <a:lvl3pPr marL="466695" indent="-138104">
              <a:defRPr lang="en-US" dirty="0"/>
            </a:lvl3pPr>
            <a:lvl4pPr marL="595275" indent="-128580">
              <a:defRPr lang="en-US" dirty="0"/>
            </a:lvl4pPr>
            <a:lvl5pPr marL="731791" indent="-12223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937967"/>
          </a:xfrm>
          <a:prstGeom prst="rect">
            <a:avLst/>
          </a:prstGeom>
        </p:spPr>
        <p:txBody>
          <a:bodyPr wrap="square">
            <a:spAutoFit/>
          </a:bodyPr>
          <a:lstStyle>
            <a:lvl1pPr marL="176202" indent="-176202">
              <a:defRPr lang="en-US" sz="2000" dirty="0"/>
            </a:lvl1pPr>
            <a:lvl2pPr marL="398437" indent="-169852">
              <a:defRPr lang="en-US" sz="1800" dirty="0"/>
            </a:lvl2pPr>
            <a:lvl3pPr marL="555589" indent="-157153">
              <a:defRPr lang="en-US" dirty="0"/>
            </a:lvl3pPr>
            <a:lvl4pPr marL="685756" indent="-136516">
              <a:defRPr lang="en-US" dirty="0"/>
            </a:lvl4pPr>
            <a:lvl5pPr marL="800048" indent="-111119">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937967"/>
          </a:xfrm>
          <a:prstGeom prst="rect">
            <a:avLst/>
          </a:prstGeom>
        </p:spPr>
        <p:txBody>
          <a:bodyPr wrap="square">
            <a:spAutoFit/>
          </a:bodyPr>
          <a:lstStyle>
            <a:lvl1pPr marL="176202" indent="-176202">
              <a:defRPr lang="en-US" sz="2000" dirty="0"/>
            </a:lvl1pPr>
            <a:lvl2pPr marL="398437" indent="-169852">
              <a:defRPr lang="en-US" sz="1800" dirty="0"/>
            </a:lvl2pPr>
            <a:lvl3pPr marL="555589" indent="-157153">
              <a:defRPr lang="en-US" dirty="0"/>
            </a:lvl3pPr>
            <a:lvl4pPr marL="685756" indent="-136516">
              <a:defRPr lang="en-US" dirty="0"/>
            </a:lvl4pPr>
            <a:lvl5pPr marL="800048" indent="-111119">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246347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341953"/>
          </a:xfrm>
          <a:prstGeom prst="rect">
            <a:avLst/>
          </a:prstGeo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1" y="1436691"/>
            <a:ext cx="5219700" cy="430887"/>
          </a:xfrm>
          <a:prstGeom prst="rect">
            <a:avLst/>
          </a:prstGeo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1" y="2084389"/>
            <a:ext cx="5219700" cy="1563505"/>
          </a:xfrm>
          <a:prstGeom prst="rect">
            <a:avLst/>
          </a:prstGeom>
        </p:spPr>
        <p:txBody>
          <a:bodyPr>
            <a:spAutoFit/>
          </a:bodyPr>
          <a:lstStyle>
            <a:lvl1pPr marL="171439" indent="-171439">
              <a:defRPr lang="en-US" sz="2400" dirty="0"/>
            </a:lvl1pPr>
            <a:lvl2pPr marL="342877" indent="-171439">
              <a:defRPr lang="en-US" dirty="0"/>
            </a:lvl2pPr>
            <a:lvl3pPr marL="514318" indent="-171439">
              <a:defRPr lang="en-US" dirty="0"/>
            </a:lvl3pPr>
            <a:lvl4pPr marL="666707" indent="-152390">
              <a:defRPr lang="en-US" dirty="0"/>
            </a:lvl4pPr>
            <a:lvl5pPr marL="793699" indent="-12064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6" y="1436691"/>
            <a:ext cx="5219700" cy="430887"/>
          </a:xfrm>
          <a:prstGeom prst="rect">
            <a:avLst/>
          </a:prstGeo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6" y="2084389"/>
            <a:ext cx="5219700" cy="1563505"/>
          </a:xfrm>
          <a:prstGeom prst="rect">
            <a:avLst/>
          </a:prstGeom>
        </p:spPr>
        <p:txBody>
          <a:bodyPr>
            <a:spAutoFit/>
          </a:bodyPr>
          <a:lstStyle>
            <a:lvl1pPr marL="171439" indent="-171439">
              <a:defRPr lang="en-US" sz="2400" dirty="0"/>
            </a:lvl1pPr>
            <a:lvl2pPr marL="342877" indent="-171439">
              <a:defRPr lang="en-US" dirty="0"/>
            </a:lvl2pPr>
            <a:lvl3pPr marL="514318" indent="-171439">
              <a:defRPr lang="en-US" dirty="0"/>
            </a:lvl3pPr>
            <a:lvl4pPr marL="685756" indent="-136516">
              <a:defRPr lang="en-US" dirty="0"/>
            </a:lvl4pPr>
            <a:lvl5pPr marL="793699" indent="-12064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22829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12649" y="548642"/>
            <a:ext cx="10948308" cy="655411"/>
          </a:xfrm>
          <a:prstGeom prst="rect">
            <a:avLst/>
          </a:prstGeo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2" y="1435101"/>
            <a:ext cx="11018839" cy="4833939"/>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3" y="-203944"/>
            <a:ext cx="577081" cy="153888"/>
          </a:xfrm>
          <a:prstGeom prst="rect">
            <a:avLst/>
          </a:prstGeom>
          <a:noFill/>
        </p:spPr>
        <p:txBody>
          <a:bodyPr wrap="none" lIns="0" tIns="0" rIns="0" bIns="0" rtlCol="0">
            <a:spAutoFit/>
          </a:bodyPr>
          <a:lstStyle/>
          <a:p>
            <a:pPr marL="0" marR="0" lvl="0" indent="0" algn="l" defTabSz="91434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5543289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341953"/>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3" y="1438278"/>
            <a:ext cx="2532063" cy="615553"/>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3" y="2283118"/>
            <a:ext cx="2532063" cy="1773830"/>
          </a:xfrm>
          <a:prstGeom prst="rect">
            <a:avLst/>
          </a:prstGeom>
        </p:spPr>
        <p:txBody>
          <a:bodyPr wrap="square">
            <a:spAutoFit/>
          </a:bodyPr>
          <a:lstStyle>
            <a:lvl1pPr marL="141279" indent="-141279">
              <a:defRPr lang="en-US" sz="1800" dirty="0"/>
            </a:lvl1pPr>
            <a:lvl2pPr marL="285733" indent="-125405">
              <a:defRPr lang="en-US" sz="1600" dirty="0"/>
            </a:lvl2pPr>
            <a:lvl3pPr marL="438122" indent="-133341">
              <a:defRPr lang="en-US" dirty="0"/>
            </a:lvl3pPr>
            <a:lvl4pPr marL="566701" indent="-114292">
              <a:defRPr lang="en-US" dirty="0"/>
            </a:lvl4pPr>
            <a:lvl5pPr marL="685756" indent="-10953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6" y="1438278"/>
            <a:ext cx="2533651" cy="615553"/>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7" y="2276478"/>
            <a:ext cx="2532063" cy="1773830"/>
          </a:xfrm>
          <a:prstGeom prst="rect">
            <a:avLst/>
          </a:prstGeom>
        </p:spPr>
        <p:txBody>
          <a:bodyPr wrap="square">
            <a:spAutoFit/>
          </a:bodyPr>
          <a:lstStyle>
            <a:lvl1pPr marL="141279" indent="-141279">
              <a:defRPr lang="en-US" sz="1800" dirty="0"/>
            </a:lvl1pPr>
            <a:lvl2pPr marL="285733" indent="-125405">
              <a:defRPr lang="en-US" sz="1600" dirty="0"/>
            </a:lvl2pPr>
            <a:lvl3pPr marL="438122" indent="-133341">
              <a:defRPr lang="en-US" dirty="0"/>
            </a:lvl3pPr>
            <a:lvl4pPr marL="566701" indent="-114292">
              <a:defRPr lang="en-US" dirty="0"/>
            </a:lvl4pPr>
            <a:lvl5pPr marL="685756" indent="-10953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10" y="1438278"/>
            <a:ext cx="2532063" cy="615553"/>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10" y="2283118"/>
            <a:ext cx="2532063" cy="1773830"/>
          </a:xfrm>
          <a:prstGeom prst="rect">
            <a:avLst/>
          </a:prstGeom>
        </p:spPr>
        <p:txBody>
          <a:bodyPr wrap="square">
            <a:spAutoFit/>
          </a:bodyPr>
          <a:lstStyle>
            <a:lvl1pPr marL="141279" indent="-141279">
              <a:defRPr lang="en-US" sz="1800" dirty="0"/>
            </a:lvl1pPr>
            <a:lvl2pPr marL="285733" indent="-125405">
              <a:defRPr lang="en-US" sz="1600" dirty="0"/>
            </a:lvl2pPr>
            <a:lvl3pPr marL="438122" indent="-133341">
              <a:defRPr lang="en-US" dirty="0"/>
            </a:lvl3pPr>
            <a:lvl4pPr marL="566701" indent="-114292">
              <a:defRPr lang="en-US" dirty="0"/>
            </a:lvl4pPr>
            <a:lvl5pPr marL="685756" indent="-10953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4" y="1438278"/>
            <a:ext cx="2533651" cy="615553"/>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8"/>
            <a:ext cx="2532063" cy="1773830"/>
          </a:xfrm>
          <a:prstGeom prst="rect">
            <a:avLst/>
          </a:prstGeom>
        </p:spPr>
        <p:txBody>
          <a:bodyPr wrap="square">
            <a:spAutoFit/>
          </a:bodyPr>
          <a:lstStyle>
            <a:lvl1pPr marL="141279" indent="-141279">
              <a:defRPr lang="en-US" sz="1800" dirty="0"/>
            </a:lvl1pPr>
            <a:lvl2pPr marL="285733" indent="-125405">
              <a:defRPr lang="en-US" sz="1600" dirty="0"/>
            </a:lvl2pPr>
            <a:lvl3pPr marL="438122" indent="-133341">
              <a:defRPr lang="en-US" dirty="0"/>
            </a:lvl3pPr>
            <a:lvl4pPr marL="566701" indent="-114292">
              <a:defRPr lang="en-US" dirty="0"/>
            </a:lvl4pPr>
            <a:lvl5pPr marL="685756" indent="-10953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993805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563223"/>
            <a:ext cx="11018520" cy="341953"/>
          </a:xfrm>
          <a:prstGeom prst="rect">
            <a:avLst/>
          </a:prstGeo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1"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28148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team nam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6" y="3191585"/>
            <a:ext cx="4167887" cy="341953"/>
          </a:xfrm>
          <a:prstGeom prst="rect">
            <a:avLst/>
          </a:prstGeom>
        </p:spPr>
        <p:txBody>
          <a:bodyPr anchor="b" anchorCtr="0">
            <a:spAutoFit/>
          </a:bodyPr>
          <a:lstStyle>
            <a:lvl1pPr>
              <a:defRPr>
                <a:solidFill>
                  <a:schemeClr val="tx1"/>
                </a:solidFill>
              </a:defRPr>
            </a:lvl1pPr>
          </a:lstStyle>
          <a:p>
            <a:r>
              <a:rPr lang="en-US"/>
              <a:t>Team name here</a:t>
            </a:r>
          </a:p>
        </p:txBody>
      </p:sp>
      <p:sp>
        <p:nvSpPr>
          <p:cNvPr id="5" name="Text Placeholder 4"/>
          <p:cNvSpPr>
            <a:spLocks noGrp="1"/>
          </p:cNvSpPr>
          <p:nvPr>
            <p:ph type="body" sz="quarter" idx="12" hasCustomPrompt="1"/>
          </p:nvPr>
        </p:nvSpPr>
        <p:spPr>
          <a:xfrm>
            <a:off x="582044" y="3962401"/>
            <a:ext cx="4164583" cy="338555"/>
          </a:xfrm>
          <a:prstGeom prst="rect">
            <a:avLst/>
          </a:prstGeom>
          <a:noFill/>
        </p:spPr>
        <p:txBody>
          <a:bodyPr wrap="square" lIns="0" tIns="0" rIns="0" bIns="0">
            <a:spAutoFit/>
          </a:bodyPr>
          <a:lstStyle>
            <a:lvl1pPr marL="0" indent="0">
              <a:spcBef>
                <a:spcPts val="0"/>
              </a:spcBef>
              <a:buNone/>
              <a:defRPr sz="2199"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212656906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D9BAA4-7F4D-40B9-82C2-246E29CCCFF7}"/>
              </a:ext>
            </a:extLst>
          </p:cNvPr>
          <p:cNvSpPr>
            <a:spLocks noGrp="1"/>
          </p:cNvSpPr>
          <p:nvPr>
            <p:ph type="body" sz="quarter" idx="14" hasCustomPrompt="1"/>
          </p:nvPr>
        </p:nvSpPr>
        <p:spPr>
          <a:xfrm>
            <a:off x="482600" y="1097280"/>
            <a:ext cx="11226800" cy="548640"/>
          </a:xfrm>
          <a:prstGeom prst="rect">
            <a:avLst/>
          </a:prstGeom>
        </p:spPr>
        <p:txBody>
          <a:bodyPr lIns="0" tIns="0" rIns="91440" bIns="0"/>
          <a:lstStyle>
            <a:lvl1pPr marL="0" indent="0">
              <a:lnSpc>
                <a:spcPts val="3800"/>
              </a:lnSpc>
              <a:spcBef>
                <a:spcPts val="0"/>
              </a:spcBef>
              <a:buNone/>
              <a:defRPr sz="3200" b="1">
                <a:solidFill>
                  <a:schemeClr val="tx1"/>
                </a:solidFill>
                <a:latin typeface="+mj-lt"/>
              </a:defRPr>
            </a:lvl1pPr>
          </a:lstStyle>
          <a:p>
            <a:pPr lvl="0"/>
            <a:r>
              <a:rPr lang="en-US"/>
              <a:t>Headline </a:t>
            </a:r>
          </a:p>
          <a:p>
            <a:pPr lvl="1"/>
            <a:endParaRPr lang="en-US"/>
          </a:p>
        </p:txBody>
      </p:sp>
    </p:spTree>
    <p:extLst>
      <p:ext uri="{BB962C8B-B14F-4D97-AF65-F5344CB8AC3E}">
        <p14:creationId xmlns:p14="http://schemas.microsoft.com/office/powerpoint/2010/main" val="383288073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C94CA8-996E-AC65-5E2F-CA3E1274C72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49B296A-993C-6A14-5508-6FE23875D22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C41CA0C-D085-7862-8847-9C9F8EEF972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C2FD12-E8B6-0DEC-0523-B1D7A286DE3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7219E8D-DFCE-20BE-69A4-C2437B86DFD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49647DF-3477-B594-ABE7-F678A61E8715}"/>
              </a:ext>
            </a:extLst>
          </p:cNvPr>
          <p:cNvSpPr>
            <a:spLocks noGrp="1"/>
          </p:cNvSpPr>
          <p:nvPr>
            <p:ph type="dt" sz="half" idx="10"/>
          </p:nvPr>
        </p:nvSpPr>
        <p:spPr/>
        <p:txBody>
          <a:bodyPr/>
          <a:lstStyle/>
          <a:p>
            <a:fld id="{2010D01F-1BC2-4E69-9F2A-DDC2A48BBAEC}" type="datetimeFigureOut">
              <a:rPr lang="en-US" smtClean="0"/>
              <a:t>4/9/2025</a:t>
            </a:fld>
            <a:endParaRPr lang="en-US"/>
          </a:p>
        </p:txBody>
      </p:sp>
      <p:sp>
        <p:nvSpPr>
          <p:cNvPr id="8" name="Footer Placeholder 7">
            <a:extLst>
              <a:ext uri="{FF2B5EF4-FFF2-40B4-BE49-F238E27FC236}">
                <a16:creationId xmlns:a16="http://schemas.microsoft.com/office/drawing/2014/main" id="{FE7C7028-B780-EE6E-70C4-7D86C887F46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E143EED-3AC7-501E-B84C-4DA64F9A2D00}"/>
              </a:ext>
            </a:extLst>
          </p:cNvPr>
          <p:cNvSpPr>
            <a:spLocks noGrp="1"/>
          </p:cNvSpPr>
          <p:nvPr>
            <p:ph type="sldNum" sz="quarter" idx="12"/>
          </p:nvPr>
        </p:nvSpPr>
        <p:spPr/>
        <p:txBody>
          <a:bodyPr/>
          <a:lstStyle/>
          <a:p>
            <a:fld id="{90623A98-DEB9-4ABD-BEA8-088375254FC1}" type="slidenum">
              <a:rPr lang="en-US" smtClean="0"/>
              <a:t>‹#›</a:t>
            </a:fld>
            <a:endParaRPr lang="en-US"/>
          </a:p>
        </p:txBody>
      </p:sp>
    </p:spTree>
    <p:extLst>
      <p:ext uri="{BB962C8B-B14F-4D97-AF65-F5344CB8AC3E}">
        <p14:creationId xmlns:p14="http://schemas.microsoft.com/office/powerpoint/2010/main" val="162899327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4" y="589551"/>
            <a:ext cx="11018520" cy="553999"/>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1" y="1434373"/>
            <a:ext cx="11018520" cy="1440394"/>
          </a:xfrm>
          <a:prstGeom prst="rect">
            <a:avLst/>
          </a:prstGeom>
        </p:spPr>
        <p:txBody>
          <a:bodyPr wrap="square">
            <a:spAutoFit/>
          </a:bodyPr>
          <a:lstStyle>
            <a:lvl1pPr marL="0" indent="0">
              <a:buNone/>
              <a:defRPr/>
            </a:lvl1pPr>
            <a:lvl2pPr marL="228516" indent="0">
              <a:buNone/>
              <a:defRPr/>
            </a:lvl2pPr>
            <a:lvl3pPr marL="457033" indent="0">
              <a:buNone/>
              <a:defRPr/>
            </a:lvl3pPr>
            <a:lvl4pPr marL="685551" indent="0">
              <a:buNone/>
              <a:defRPr/>
            </a:lvl4pPr>
            <a:lvl5pPr marL="91406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79338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4" y="355768"/>
            <a:ext cx="5029201" cy="263525"/>
          </a:xfrm>
          <a:prstGeom prst="rect">
            <a:avLst/>
          </a:prstGeom>
        </p:spPr>
        <p:txBody>
          <a:bodyPr/>
          <a:lstStyle>
            <a:lvl1pPr>
              <a:defRPr/>
            </a:lvl1pPr>
          </a:lstStyle>
          <a:p>
            <a:r>
              <a:rPr lang="en-US"/>
              <a:t>[HEADING]</a:t>
            </a:r>
          </a:p>
        </p:txBody>
      </p:sp>
    </p:spTree>
    <p:extLst>
      <p:ext uri="{BB962C8B-B14F-4D97-AF65-F5344CB8AC3E}">
        <p14:creationId xmlns:p14="http://schemas.microsoft.com/office/powerpoint/2010/main" val="2027265613"/>
      </p:ext>
    </p:extLst>
  </p:cSld>
  <p:clrMapOvr>
    <a:masterClrMapping/>
  </p:clrMapOvr>
  <p:transition>
    <p:fade/>
  </p:transition>
  <p:extLst>
    <p:ext uri="{DCECCB84-F9BA-43D5-87BE-67443E8EF086}">
      <p15:sldGuideLst xmlns:p15="http://schemas.microsoft.com/office/powerpoint/2012/main">
        <p15:guide id="1" orient="horz" pos="528">
          <p15:clr>
            <a:srgbClr val="A4A3A4"/>
          </p15:clr>
        </p15:guide>
        <p15:guide id="2" orient="horz" pos="3888">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column">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6F961560-762C-234D-9C21-2383B23AD52E}"/>
              </a:ext>
            </a:extLst>
          </p:cNvPr>
          <p:cNvSpPr>
            <a:spLocks noGrp="1"/>
          </p:cNvSpPr>
          <p:nvPr>
            <p:ph type="title"/>
          </p:nvPr>
        </p:nvSpPr>
        <p:spPr>
          <a:xfrm>
            <a:off x="604266" y="236671"/>
            <a:ext cx="9644635" cy="311967"/>
          </a:xfrm>
          <a:prstGeom prst="rect">
            <a:avLst/>
          </a:prstGeom>
        </p:spPr>
        <p:txBody>
          <a:bodyPr vert="horz" wrap="square" lIns="0" tIns="0" rIns="0" bIns="0" rtlCol="0" anchor="t">
            <a:spAutoFit/>
          </a:bodyPr>
          <a:lstStyle>
            <a:lvl1pPr>
              <a:defRPr sz="2000"/>
            </a:lvl1pPr>
          </a:lstStyle>
          <a:p>
            <a:r>
              <a:rPr lang="en-US"/>
              <a:t>Click to edit Master title style</a:t>
            </a:r>
          </a:p>
        </p:txBody>
      </p:sp>
      <p:sp>
        <p:nvSpPr>
          <p:cNvPr id="5" name="Rectangle 4">
            <a:extLst>
              <a:ext uri="{FF2B5EF4-FFF2-40B4-BE49-F238E27FC236}">
                <a16:creationId xmlns:a16="http://schemas.microsoft.com/office/drawing/2014/main" id="{516A9E15-E9DF-F744-8237-5BE3D8FD96B2}"/>
              </a:ext>
            </a:extLst>
          </p:cNvPr>
          <p:cNvSpPr/>
          <p:nvPr userDrawn="1"/>
        </p:nvSpPr>
        <p:spPr bwMode="auto">
          <a:xfrm>
            <a:off x="1" y="6575383"/>
            <a:ext cx="12192000" cy="29106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4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906C761F-D534-B64B-9684-71C973D84074}"/>
              </a:ext>
            </a:extLst>
          </p:cNvPr>
          <p:cNvSpPr txBox="1"/>
          <p:nvPr userDrawn="1"/>
        </p:nvSpPr>
        <p:spPr>
          <a:xfrm>
            <a:off x="595886" y="6648881"/>
            <a:ext cx="4571779" cy="110800"/>
          </a:xfrm>
          <a:prstGeom prst="rect">
            <a:avLst/>
          </a:prstGeom>
          <a:noFill/>
        </p:spPr>
        <p:txBody>
          <a:bodyPr wrap="square" lIns="0" tIns="0" rIns="0" bIns="0" rtlCol="0">
            <a:spAutoFit/>
          </a:bodyPr>
          <a:lstStyle/>
          <a:p>
            <a:pPr marL="0" marR="0" lvl="0" indent="0" algn="l" defTabSz="914308" rtl="0" eaLnBrk="1" fontAlgn="auto" latinLnBrk="0" hangingPunct="1">
              <a:lnSpc>
                <a:spcPct val="90000"/>
              </a:lnSpc>
              <a:spcBef>
                <a:spcPts val="0"/>
              </a:spcBef>
              <a:spcAft>
                <a:spcPts val="588"/>
              </a:spcAft>
              <a:buClrTx/>
              <a:buSzTx/>
              <a:buFontTx/>
              <a:buNone/>
              <a:tabLst/>
              <a:defRPr/>
            </a:pPr>
            <a:fld id="{A60CAA2C-59EC-4BAF-ADE0-46F2C7CDD55C}" type="slidenum">
              <a:rPr kumimoji="0" lang="en-US" sz="800" b="0" i="0" u="none" strike="noStrike" kern="1200" cap="none" spc="0" normalizeH="0" baseline="0" noProof="0" smtClean="0">
                <a:ln>
                  <a:noFill/>
                </a:ln>
                <a:solidFill>
                  <a:srgbClr val="243A5E"/>
                </a:solidFill>
                <a:effectLst/>
                <a:uLnTx/>
                <a:uFillTx/>
                <a:latin typeface="Segoe UI"/>
                <a:ea typeface="+mn-ea"/>
                <a:cs typeface="+mn-cs"/>
              </a:rPr>
              <a:pPr marL="0" marR="0" lvl="0" indent="0" algn="l" defTabSz="914308" rtl="0" eaLnBrk="1" fontAlgn="auto" latinLnBrk="0" hangingPunct="1">
                <a:lnSpc>
                  <a:spcPct val="90000"/>
                </a:lnSpc>
                <a:spcBef>
                  <a:spcPts val="0"/>
                </a:spcBef>
                <a:spcAft>
                  <a:spcPts val="588"/>
                </a:spcAft>
                <a:buClrTx/>
                <a:buSzTx/>
                <a:buFontTx/>
                <a:buNone/>
                <a:tabLst/>
                <a:defRPr/>
              </a:pPr>
              <a:t>‹#›</a:t>
            </a:fld>
            <a:r>
              <a:rPr kumimoji="0" lang="en-US" sz="800" b="0" i="0" u="none" strike="noStrike" kern="1200" cap="none" spc="0" normalizeH="0" baseline="0" noProof="0">
                <a:ln>
                  <a:noFill/>
                </a:ln>
                <a:solidFill>
                  <a:srgbClr val="243A5E"/>
                </a:solidFill>
                <a:effectLst/>
                <a:uLnTx/>
                <a:uFillTx/>
                <a:latin typeface="Segoe UI"/>
                <a:ea typeface="+mn-ea"/>
                <a:cs typeface="+mn-cs"/>
              </a:rPr>
              <a:t> Identifying AI Opportunities for Windows</a:t>
            </a:r>
          </a:p>
        </p:txBody>
      </p:sp>
      <p:sp>
        <p:nvSpPr>
          <p:cNvPr id="8" name="Text Placeholder 7">
            <a:extLst>
              <a:ext uri="{FF2B5EF4-FFF2-40B4-BE49-F238E27FC236}">
                <a16:creationId xmlns:a16="http://schemas.microsoft.com/office/drawing/2014/main" id="{F1292A01-2E81-834B-A458-3E12D2291768}"/>
              </a:ext>
            </a:extLst>
          </p:cNvPr>
          <p:cNvSpPr>
            <a:spLocks noGrp="1"/>
          </p:cNvSpPr>
          <p:nvPr>
            <p:ph idx="1" hasCustomPrompt="1"/>
          </p:nvPr>
        </p:nvSpPr>
        <p:spPr>
          <a:xfrm>
            <a:off x="604267" y="1304927"/>
            <a:ext cx="10997184" cy="4691063"/>
          </a:xfrm>
          <a:prstGeom prst="rect">
            <a:avLst/>
          </a:prstGeom>
        </p:spPr>
        <p:txBody>
          <a:bodyPr vert="horz" lIns="0" tIns="0" rIns="0" bIns="0" rtlCol="0">
            <a:normAutofit/>
          </a:bodyPr>
          <a:lstStyle/>
          <a:p>
            <a:pPr lvl="0"/>
            <a:r>
              <a:rPr lang="en-US"/>
              <a:t>Click to add text</a:t>
            </a:r>
          </a:p>
          <a:p>
            <a:pPr lvl="1"/>
            <a:r>
              <a:rPr lang="en-US"/>
              <a:t>Second level</a:t>
            </a:r>
          </a:p>
          <a:p>
            <a:pPr lvl="2"/>
            <a:r>
              <a:rPr lang="en-US"/>
              <a:t>Third level</a:t>
            </a:r>
          </a:p>
        </p:txBody>
      </p:sp>
      <p:sp>
        <p:nvSpPr>
          <p:cNvPr id="2" name="TextBox 1">
            <a:extLst>
              <a:ext uri="{FF2B5EF4-FFF2-40B4-BE49-F238E27FC236}">
                <a16:creationId xmlns:a16="http://schemas.microsoft.com/office/drawing/2014/main" id="{3880FD13-18AB-4013-831E-906F6EB6797B}"/>
              </a:ext>
            </a:extLst>
          </p:cNvPr>
          <p:cNvSpPr txBox="1"/>
          <p:nvPr userDrawn="1"/>
        </p:nvSpPr>
        <p:spPr>
          <a:xfrm>
            <a:off x="8248761" y="6646269"/>
            <a:ext cx="3352691" cy="110800"/>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r" defTabSz="914308"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aka.ms/</a:t>
            </a:r>
            <a:r>
              <a:rPr kumimoji="0" lang="en-US" sz="800" b="0" i="0" u="none" strike="noStrike" kern="1200" cap="none" spc="0" normalizeH="0" baseline="0" noProof="0" err="1">
                <a:ln>
                  <a:noFill/>
                </a:ln>
                <a:solidFill>
                  <a:srgbClr val="000000"/>
                </a:solidFill>
                <a:effectLst/>
                <a:uLnTx/>
                <a:uFillTx/>
                <a:latin typeface="Segoe UI"/>
                <a:ea typeface="+mn-ea"/>
                <a:cs typeface="+mn-cs"/>
              </a:rPr>
              <a:t>researchandinsights</a:t>
            </a:r>
            <a:r>
              <a:rPr kumimoji="0" lang="en-US" sz="800" b="0" i="0" u="none" strike="noStrike" kern="1200" cap="none" spc="0" normalizeH="0" baseline="0" noProof="0">
                <a:ln>
                  <a:noFill/>
                </a:ln>
                <a:solidFill>
                  <a:srgbClr val="000000"/>
                </a:solidFill>
                <a:effectLst/>
                <a:uLnTx/>
                <a:uFillTx/>
                <a:latin typeface="Segoe UI"/>
                <a:ea typeface="+mn-ea"/>
                <a:cs typeface="+mn-cs"/>
              </a:rPr>
              <a:t> Microsoft confidential</a:t>
            </a:r>
          </a:p>
        </p:txBody>
      </p:sp>
    </p:spTree>
    <p:extLst>
      <p:ext uri="{BB962C8B-B14F-4D97-AF65-F5344CB8AC3E}">
        <p14:creationId xmlns:p14="http://schemas.microsoft.com/office/powerpoint/2010/main" val="233986955"/>
      </p:ext>
    </p:extLst>
  </p:cSld>
  <p:clrMapOvr>
    <a:masterClrMapping/>
  </p:clrMapOvr>
  <p:transition>
    <p:fade/>
  </p:transition>
  <p:extLst>
    <p:ext uri="{DCECCB84-F9BA-43D5-87BE-67443E8EF086}">
      <p15:sldGuideLst xmlns:p15="http://schemas.microsoft.com/office/powerpoint/2012/main">
        <p15:guide id="28" orient="horz" pos="822">
          <p15:clr>
            <a:srgbClr val="5ACBF0"/>
          </p15:clr>
        </p15:guide>
        <p15:guide id="38" orient="horz" pos="3780">
          <p15:clr>
            <a:srgbClr val="C35E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 column DENS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7F68E56-55A8-4E1E-A952-B949F069366A}"/>
              </a:ext>
            </a:extLst>
          </p:cNvPr>
          <p:cNvSpPr>
            <a:spLocks noGrp="1"/>
          </p:cNvSpPr>
          <p:nvPr>
            <p:ph type="title" hasCustomPrompt="1"/>
          </p:nvPr>
        </p:nvSpPr>
        <p:spPr>
          <a:xfrm>
            <a:off x="381001" y="381000"/>
            <a:ext cx="11408732" cy="685800"/>
          </a:xfrm>
          <a:prstGeom prst="rect">
            <a:avLst/>
          </a:prstGeom>
        </p:spPr>
        <p:txBody>
          <a:bodyPr anchor="t">
            <a:noAutofit/>
          </a:bodyPr>
          <a:lstStyle>
            <a:lvl1pPr>
              <a:defRPr sz="2600" b="1" i="0">
                <a:latin typeface="Segoe UI" panose="020B0502040204020203" pitchFamily="34" charset="0"/>
                <a:cs typeface="Segoe UI" panose="020B0502040204020203" pitchFamily="34" charset="0"/>
              </a:defRPr>
            </a:lvl1pPr>
          </a:lstStyle>
          <a:p>
            <a:r>
              <a:rPr lang="en-US"/>
              <a:t>1 column layout – DENSE</a:t>
            </a:r>
          </a:p>
        </p:txBody>
      </p:sp>
      <p:sp>
        <p:nvSpPr>
          <p:cNvPr id="6" name="Content Placeholder 5">
            <a:extLst>
              <a:ext uri="{FF2B5EF4-FFF2-40B4-BE49-F238E27FC236}">
                <a16:creationId xmlns:a16="http://schemas.microsoft.com/office/drawing/2014/main" id="{CD6A0AEF-D59F-1E4E-BC78-115559D684E5}"/>
              </a:ext>
            </a:extLst>
          </p:cNvPr>
          <p:cNvSpPr>
            <a:spLocks noGrp="1"/>
          </p:cNvSpPr>
          <p:nvPr>
            <p:ph sz="quarter" idx="15"/>
          </p:nvPr>
        </p:nvSpPr>
        <p:spPr>
          <a:xfrm>
            <a:off x="381000" y="1066802"/>
            <a:ext cx="11408733" cy="538162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4">
            <a:extLst>
              <a:ext uri="{FF2B5EF4-FFF2-40B4-BE49-F238E27FC236}">
                <a16:creationId xmlns:a16="http://schemas.microsoft.com/office/drawing/2014/main" id="{9FF554D9-DA5E-C14A-9CAF-5BE4FCD0C52A}"/>
              </a:ext>
            </a:extLst>
          </p:cNvPr>
          <p:cNvSpPr>
            <a:spLocks noGrp="1"/>
          </p:cNvSpPr>
          <p:nvPr>
            <p:ph type="sldNum" sz="quarter" idx="4"/>
          </p:nvPr>
        </p:nvSpPr>
        <p:spPr>
          <a:xfrm>
            <a:off x="11789735" y="6448427"/>
            <a:ext cx="381000" cy="409575"/>
          </a:xfrm>
          <a:prstGeom prst="rect">
            <a:avLst/>
          </a:prstGeom>
        </p:spPr>
        <p:txBody>
          <a:bodyPr vert="horz" lIns="0" tIns="0" rIns="0" bIns="0" rtlCol="0" anchor="t"/>
          <a:lstStyle>
            <a:lvl1pPr algn="l">
              <a:defRPr sz="1200" b="0" i="0" spc="0">
                <a:solidFill>
                  <a:schemeClr val="tx1">
                    <a:tint val="75000"/>
                  </a:schemeClr>
                </a:solidFill>
                <a:latin typeface="Segoe UI" panose="020B0502040204020203" pitchFamily="34" charset="0"/>
                <a:cs typeface="Segoe UI" panose="020B0502040204020203" pitchFamily="34" charset="0"/>
              </a:defRPr>
            </a:lvl1pPr>
          </a:lstStyle>
          <a:p>
            <a:pPr>
              <a:defRPr/>
            </a:pPr>
            <a:fld id="{3E0FEC93-3AD6-4EB3-8926-0C45EF6FA578}" type="slidenum">
              <a:rPr lang="en-US" smtClean="0">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484031538"/>
      </p:ext>
    </p:extLst>
  </p:cSld>
  <p:clrMapOvr>
    <a:masterClrMapping/>
  </p:clrMapOvr>
  <p:transition>
    <p:fade/>
  </p:transition>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resentation content slide with one large centered column on light background">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82CF2B4E-A4E2-4E8D-9C87-2C7BAC1B3CCA}"/>
              </a:ext>
            </a:extLst>
          </p:cNvPr>
          <p:cNvSpPr>
            <a:spLocks noGrp="1"/>
          </p:cNvSpPr>
          <p:nvPr>
            <p:ph type="title"/>
          </p:nvPr>
        </p:nvSpPr>
        <p:spPr>
          <a:xfrm>
            <a:off x="563881" y="533401"/>
            <a:ext cx="2654859"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1" name="Subtitle">
            <a:extLst>
              <a:ext uri="{FF2B5EF4-FFF2-40B4-BE49-F238E27FC236}">
                <a16:creationId xmlns:a16="http://schemas.microsoft.com/office/drawing/2014/main" id="{0EA6F937-C1E6-4F86-BB51-699DD23B513C}"/>
              </a:ext>
            </a:extLst>
          </p:cNvPr>
          <p:cNvSpPr>
            <a:spLocks noGrp="1"/>
          </p:cNvSpPr>
          <p:nvPr>
            <p:ph type="body" sz="quarter" idx="14" hasCustomPrompt="1"/>
          </p:nvPr>
        </p:nvSpPr>
        <p:spPr>
          <a:xfrm>
            <a:off x="3365738" y="533401"/>
            <a:ext cx="5458119" cy="575310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6" name="Footer note">
            <a:extLst>
              <a:ext uri="{FF2B5EF4-FFF2-40B4-BE49-F238E27FC236}">
                <a16:creationId xmlns:a16="http://schemas.microsoft.com/office/drawing/2014/main" id="{FB8BC195-9937-444F-BD8A-D21E647EFC3B}"/>
              </a:ext>
              <a:ext uri="{C183D7F6-B498-43B3-948B-1728B52AA6E4}">
                <adec:decorative xmlns:adec="http://schemas.microsoft.com/office/drawing/2017/decorative" val="1"/>
              </a:ext>
            </a:extLst>
          </p:cNvPr>
          <p:cNvSpPr>
            <a:spLocks noGrp="1"/>
          </p:cNvSpPr>
          <p:nvPr>
            <p:ph type="ftr" sz="quarter" idx="3"/>
          </p:nvPr>
        </p:nvSpPr>
        <p:spPr>
          <a:xfrm>
            <a:off x="856731"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1" defTabSz="761921">
              <a:defRPr/>
            </a:pPr>
            <a:endParaRPr lang="en-US"/>
          </a:p>
        </p:txBody>
      </p:sp>
      <p:sp>
        <p:nvSpPr>
          <p:cNvPr id="8" name="Slide number">
            <a:extLst>
              <a:ext uri="{FF2B5EF4-FFF2-40B4-BE49-F238E27FC236}">
                <a16:creationId xmlns:a16="http://schemas.microsoft.com/office/drawing/2014/main" id="{35CB3B1B-817F-4D02-853D-6EF9D6CDB9C3}"/>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4" defTabSz="761921">
              <a:defRPr/>
            </a:pPr>
            <a:fld id="{81D60167-4931-47E6-BA6A-407CBD079E47}" type="slidenum">
              <a:rPr lang="en-US" smtClean="0"/>
              <a:pPr marL="21164" defTabSz="761921">
                <a:defRPr/>
              </a:pPr>
              <a:t>‹#›</a:t>
            </a:fld>
            <a:endParaRPr lang="en-US"/>
          </a:p>
        </p:txBody>
      </p:sp>
    </p:spTree>
    <p:extLst>
      <p:ext uri="{BB962C8B-B14F-4D97-AF65-F5344CB8AC3E}">
        <p14:creationId xmlns:p14="http://schemas.microsoft.com/office/powerpoint/2010/main" val="4084477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resentation content slide with subtitle and 3 columns - large middle column on white background">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688FE3B8-F861-974A-9610-C8DFD00610B5}"/>
              </a:ext>
            </a:extLst>
          </p:cNvPr>
          <p:cNvSpPr>
            <a:spLocks noGrp="1"/>
          </p:cNvSpPr>
          <p:nvPr>
            <p:ph type="title"/>
          </p:nvPr>
        </p:nvSpPr>
        <p:spPr>
          <a:xfrm>
            <a:off x="685802" y="628652"/>
            <a:ext cx="4298951" cy="307777"/>
          </a:xfrm>
          <a:prstGeom prst="rect">
            <a:avLst/>
          </a:prstGeom>
        </p:spPr>
        <p:txBody>
          <a:bodyPr vert="horz" wrap="square" lIns="0" tIns="0" rIns="0" bIns="0" rtlCol="0" anchor="t">
            <a:spAutoFit/>
          </a:bodyPr>
          <a:lstStyle>
            <a:lvl1pPr>
              <a:lnSpc>
                <a:spcPct val="100000"/>
              </a:lnSpc>
              <a:spcBef>
                <a:spcPts val="0"/>
              </a:spcBef>
              <a:spcAft>
                <a:spcPts val="667"/>
              </a:spcAft>
              <a:defRPr sz="2000" baseline="0">
                <a:solidFill>
                  <a:schemeClr val="tx2"/>
                </a:solidFill>
              </a:defRPr>
            </a:lvl1pPr>
          </a:lstStyle>
          <a:p>
            <a:r>
              <a:rPr lang="en-US"/>
              <a:t>Click to edit Master title style</a:t>
            </a:r>
          </a:p>
        </p:txBody>
      </p:sp>
      <p:sp>
        <p:nvSpPr>
          <p:cNvPr id="4" name="TextBox 3">
            <a:extLst>
              <a:ext uri="{FF2B5EF4-FFF2-40B4-BE49-F238E27FC236}">
                <a16:creationId xmlns:a16="http://schemas.microsoft.com/office/drawing/2014/main" id="{601FA46C-EE6E-4BE0-A82F-6ADCB8F2CC77}"/>
              </a:ext>
              <a:ext uri="{C183D7F6-B498-43B3-948B-1728B52AA6E4}">
                <adec:decorative xmlns:adec="http://schemas.microsoft.com/office/drawing/2017/decorative" val="1"/>
              </a:ext>
            </a:extLst>
          </p:cNvPr>
          <p:cNvSpPr txBox="1"/>
          <p:nvPr userDrawn="1"/>
        </p:nvSpPr>
        <p:spPr>
          <a:xfrm>
            <a:off x="685801" y="6544985"/>
            <a:ext cx="3848100" cy="123111"/>
          </a:xfrm>
          <a:prstGeom prst="rect">
            <a:avLst/>
          </a:prstGeom>
          <a:noFill/>
        </p:spPr>
        <p:txBody>
          <a:bodyPr wrap="square" lIns="0" tIns="0" rIns="0" bIns="0" rtlCol="0">
            <a:spAutoFit/>
          </a:bodyPr>
          <a:lstStyle/>
          <a:p>
            <a:pPr marL="0" marR="0" lvl="0" indent="0" algn="l" defTabSz="914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nfidential</a:t>
            </a:r>
            <a:endParaRPr kumimoji="0" lang="en-US" sz="8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420545757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4" y="585217"/>
            <a:ext cx="8193024" cy="307777"/>
          </a:xfrm>
        </p:spPr>
        <p:txBody>
          <a:bodyPr/>
          <a:lstStyle>
            <a:lvl1pPr>
              <a:defRPr sz="2000" b="0" i="0">
                <a:solidFill>
                  <a:schemeClr val="tx1"/>
                </a:solidFill>
                <a:latin typeface="Segoe Sans Display Semibold" pitchFamily="2" charset="0"/>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3792940620"/>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ocument blank slide with black 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637604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Presentation blank slide with light background">
    <p:spTree>
      <p:nvGrpSpPr>
        <p:cNvPr id="1" name=""/>
        <p:cNvGrpSpPr/>
        <p:nvPr/>
      </p:nvGrpSpPr>
      <p:grpSpPr>
        <a:xfrm>
          <a:off x="0" y="0"/>
          <a:ext cx="0" cy="0"/>
          <a:chOff x="0" y="0"/>
          <a:chExt cx="0" cy="0"/>
        </a:xfrm>
      </p:grpSpPr>
      <p:sp>
        <p:nvSpPr>
          <p:cNvPr id="4" name="Footer note">
            <a:extLst>
              <a:ext uri="{FF2B5EF4-FFF2-40B4-BE49-F238E27FC236}">
                <a16:creationId xmlns:a16="http://schemas.microsoft.com/office/drawing/2014/main" id="{6309739E-918A-44DB-BE10-EE23598332B7}"/>
              </a:ext>
              <a:ext uri="{C183D7F6-B498-43B3-948B-1728B52AA6E4}">
                <adec:decorative xmlns:adec="http://schemas.microsoft.com/office/drawing/2017/decorative" val="1"/>
              </a:ext>
            </a:extLst>
          </p:cNvPr>
          <p:cNvSpPr>
            <a:spLocks noGrp="1"/>
          </p:cNvSpPr>
          <p:nvPr>
            <p:ph type="ftr" sz="quarter" idx="3"/>
          </p:nvPr>
        </p:nvSpPr>
        <p:spPr>
          <a:xfrm>
            <a:off x="856731"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1" defTabSz="761921">
              <a:defRPr/>
            </a:pPr>
            <a:endParaRPr lang="en-US"/>
          </a:p>
        </p:txBody>
      </p:sp>
      <p:sp>
        <p:nvSpPr>
          <p:cNvPr id="5" name="Slide number">
            <a:extLst>
              <a:ext uri="{FF2B5EF4-FFF2-40B4-BE49-F238E27FC236}">
                <a16:creationId xmlns:a16="http://schemas.microsoft.com/office/drawing/2014/main" id="{1409F942-907B-421D-B8CB-386F627048CF}"/>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4" defTabSz="761921">
              <a:defRPr/>
            </a:pPr>
            <a:fld id="{81D60167-4931-47E6-BA6A-407CBD079E47}" type="slidenum">
              <a:rPr lang="en-US" smtClean="0"/>
              <a:pPr marL="21164" defTabSz="761921">
                <a:defRPr/>
              </a:pPr>
              <a:t>‹#›</a:t>
            </a:fld>
            <a:endParaRPr lang="en-US"/>
          </a:p>
        </p:txBody>
      </p:sp>
    </p:spTree>
    <p:extLst>
      <p:ext uri="{BB962C8B-B14F-4D97-AF65-F5344CB8AC3E}">
        <p14:creationId xmlns:p14="http://schemas.microsoft.com/office/powerpoint/2010/main" val="195314839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resentation section with large copy on blu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1" y="511956"/>
            <a:ext cx="2658747" cy="223407"/>
          </a:xfrm>
          <a:prstGeom prst="rect">
            <a:avLst/>
          </a:prstGeom>
        </p:spPr>
        <p:txBody>
          <a:bodyPr lIns="0" tIns="0" rIns="0" bIns="0" anchor="t"/>
          <a:lstStyle>
            <a:lvl1pPr marL="0">
              <a:lnSpc>
                <a:spcPct val="120000"/>
              </a:lnSpc>
              <a:spcBef>
                <a:spcPts val="0"/>
              </a:spcBef>
              <a:spcAft>
                <a:spcPts val="667"/>
              </a:spcAft>
              <a:defRPr lang="en-US" sz="2167" b="0" kern="1200" cap="none" spc="0" baseline="0" dirty="0">
                <a:ln w="3175">
                  <a:noFill/>
                </a:ln>
                <a:solidFill>
                  <a:srgbClr val="FFFFFF"/>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493607" y="3731184"/>
            <a:ext cx="9191308" cy="2821285"/>
          </a:xfrm>
          <a:prstGeom prst="rect">
            <a:avLst/>
          </a:prstGeom>
        </p:spPr>
        <p:txBody>
          <a:bodyPr vert="horz" wrap="square" lIns="0" tIns="0" rIns="0" bIns="0" rtlCol="0" anchor="b">
            <a:spAutoFit/>
          </a:bodyPr>
          <a:lstStyle>
            <a:lvl1pPr>
              <a:lnSpc>
                <a:spcPct val="100000"/>
              </a:lnSpc>
              <a:spcBef>
                <a:spcPts val="0"/>
              </a:spcBef>
              <a:spcAft>
                <a:spcPts val="667"/>
              </a:spcAft>
              <a:defRPr lang="en-US" sz="9165" kern="1200" spc="-83" baseline="0" dirty="0">
                <a:solidFill>
                  <a:srgbClr val="FFFFFF"/>
                </a:solidFill>
                <a:latin typeface="+mj-lt"/>
                <a:ea typeface="+mn-ea"/>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4048310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D377FA-3777-5E75-4935-0E7F1D0CD2B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CF17E5B-ADED-2A4E-0BCC-014B917AF680}"/>
              </a:ext>
            </a:extLst>
          </p:cNvPr>
          <p:cNvSpPr>
            <a:spLocks noGrp="1"/>
          </p:cNvSpPr>
          <p:nvPr>
            <p:ph type="dt" sz="half" idx="10"/>
          </p:nvPr>
        </p:nvSpPr>
        <p:spPr/>
        <p:txBody>
          <a:bodyPr/>
          <a:lstStyle/>
          <a:p>
            <a:fld id="{2010D01F-1BC2-4E69-9F2A-DDC2A48BBAEC}" type="datetimeFigureOut">
              <a:rPr lang="en-US" smtClean="0"/>
              <a:t>4/9/2025</a:t>
            </a:fld>
            <a:endParaRPr lang="en-US"/>
          </a:p>
        </p:txBody>
      </p:sp>
      <p:sp>
        <p:nvSpPr>
          <p:cNvPr id="4" name="Footer Placeholder 3">
            <a:extLst>
              <a:ext uri="{FF2B5EF4-FFF2-40B4-BE49-F238E27FC236}">
                <a16:creationId xmlns:a16="http://schemas.microsoft.com/office/drawing/2014/main" id="{1F9A0638-7EE7-1929-CE54-F4FBE2C9EA3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A468AFF-6140-2DDF-CD72-376441E37551}"/>
              </a:ext>
            </a:extLst>
          </p:cNvPr>
          <p:cNvSpPr>
            <a:spLocks noGrp="1"/>
          </p:cNvSpPr>
          <p:nvPr>
            <p:ph type="sldNum" sz="quarter" idx="12"/>
          </p:nvPr>
        </p:nvSpPr>
        <p:spPr/>
        <p:txBody>
          <a:bodyPr/>
          <a:lstStyle/>
          <a:p>
            <a:fld id="{90623A98-DEB9-4ABD-BEA8-088375254FC1}" type="slidenum">
              <a:rPr lang="en-US" smtClean="0"/>
              <a:t>‹#›</a:t>
            </a:fld>
            <a:endParaRPr lang="en-US"/>
          </a:p>
        </p:txBody>
      </p:sp>
    </p:spTree>
    <p:extLst>
      <p:ext uri="{BB962C8B-B14F-4D97-AF65-F5344CB8AC3E}">
        <p14:creationId xmlns:p14="http://schemas.microsoft.com/office/powerpoint/2010/main" val="20050937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Headline 1 Column">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2"/>
            <a:ext cx="11018520" cy="553999"/>
          </a:xfrm>
          <a:prstGeom prst="rect">
            <a:avLst/>
          </a:prstGeom>
        </p:spPr>
        <p:txBody>
          <a:bodyPr lIns="0" tIns="0" rIns="0" bIns="0"/>
          <a:lstStyle>
            <a:lvl1pPr>
              <a:defRPr sz="3600">
                <a:solidFill>
                  <a:srgbClr val="60CDFF"/>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66D58C26-8E16-4527-A9D6-1E1708EBABF2}"/>
              </a:ext>
            </a:extLst>
          </p:cNvPr>
          <p:cNvSpPr>
            <a:spLocks noGrp="1"/>
          </p:cNvSpPr>
          <p:nvPr>
            <p:ph sz="quarter" idx="10"/>
          </p:nvPr>
        </p:nvSpPr>
        <p:spPr>
          <a:xfrm>
            <a:off x="584202" y="1486432"/>
            <a:ext cx="11018839" cy="4782607"/>
          </a:xfrm>
          <a:prstGeom prst="rect">
            <a:avLst/>
          </a:prstGeom>
        </p:spPr>
        <p:txBody>
          <a:bodyPr lIns="0" tIns="0" rIns="0" bIns="0"/>
          <a:lstStyle>
            <a:lvl1pPr>
              <a:defRPr sz="1800">
                <a:solidFill>
                  <a:schemeClr val="bg1"/>
                </a:solidFill>
              </a:defRPr>
            </a:lvl1pPr>
            <a:lvl2pPr>
              <a:defRPr sz="1400">
                <a:solidFill>
                  <a:schemeClr val="bg1"/>
                </a:solidFill>
              </a:defRPr>
            </a:lvl2pPr>
            <a:lvl3pPr>
              <a:defRPr sz="1200">
                <a:solidFill>
                  <a:schemeClr val="bg1"/>
                </a:solidFill>
              </a:defRPr>
            </a:lvl3pPr>
            <a:lvl4pPr>
              <a:defRPr sz="1051">
                <a:solidFill>
                  <a:schemeClr val="bg1"/>
                </a:solidFill>
              </a:defRPr>
            </a:lvl4pPr>
            <a:lvl5pP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D88F74B6-6B56-AE04-6DCA-3CD4926EFDB4}"/>
              </a:ext>
            </a:extLst>
          </p:cNvPr>
          <p:cNvSpPr>
            <a:spLocks noGrp="1"/>
          </p:cNvSpPr>
          <p:nvPr>
            <p:ph sz="quarter" idx="11"/>
          </p:nvPr>
        </p:nvSpPr>
        <p:spPr>
          <a:xfrm>
            <a:off x="584202" y="1113438"/>
            <a:ext cx="11018839" cy="270755"/>
          </a:xfrm>
          <a:prstGeom prst="rect">
            <a:avLst/>
          </a:prstGeom>
        </p:spPr>
        <p:txBody>
          <a:bodyPr lIns="0" tIns="0" rIns="0" bIns="0"/>
          <a:lstStyle>
            <a:lvl1pPr>
              <a:defRPr sz="1800">
                <a:solidFill>
                  <a:schemeClr val="bg1"/>
                </a:solidFill>
                <a:latin typeface="+mj-lt"/>
              </a:defRPr>
            </a:lvl1pPr>
            <a:lvl2pPr>
              <a:defRPr sz="1400">
                <a:solidFill>
                  <a:schemeClr val="bg1"/>
                </a:solidFill>
              </a:defRPr>
            </a:lvl2pPr>
            <a:lvl3pPr>
              <a:defRPr sz="1200">
                <a:solidFill>
                  <a:schemeClr val="bg1"/>
                </a:solidFill>
              </a:defRPr>
            </a:lvl3pPr>
            <a:lvl4pPr>
              <a:defRPr sz="1051">
                <a:solidFill>
                  <a:schemeClr val="bg1"/>
                </a:solidFill>
              </a:defRPr>
            </a:lvl4pPr>
            <a:lvl5pPr>
              <a:defRPr sz="9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69243077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Presentation content slide with subtitle, 4 columns and a wide full-bleed image at the bottom on light background">
    <p:spTree>
      <p:nvGrpSpPr>
        <p:cNvPr id="1" name=""/>
        <p:cNvGrpSpPr/>
        <p:nvPr/>
      </p:nvGrpSpPr>
      <p:grpSpPr>
        <a:xfrm>
          <a:off x="0" y="0"/>
          <a:ext cx="0" cy="0"/>
          <a:chOff x="0" y="0"/>
          <a:chExt cx="0" cy="0"/>
        </a:xfrm>
      </p:grpSpPr>
      <p:sp>
        <p:nvSpPr>
          <p:cNvPr id="14" name="Picture placeholder" descr="Placeholder area to insert an image">
            <a:extLst>
              <a:ext uri="{FF2B5EF4-FFF2-40B4-BE49-F238E27FC236}">
                <a16:creationId xmlns:a16="http://schemas.microsoft.com/office/drawing/2014/main" id="{3DEB59F0-0914-4495-B76F-30EF719ABE0E}"/>
              </a:ext>
              <a:ext uri="{C183D7F6-B498-43B3-948B-1728B52AA6E4}">
                <adec:decorative xmlns:adec="http://schemas.microsoft.com/office/drawing/2017/decorative" val="0"/>
              </a:ext>
            </a:extLst>
          </p:cNvPr>
          <p:cNvSpPr>
            <a:spLocks noGrp="1"/>
          </p:cNvSpPr>
          <p:nvPr>
            <p:ph type="pic" sz="quarter" idx="15" hasCustomPrompt="1"/>
          </p:nvPr>
        </p:nvSpPr>
        <p:spPr bwMode="gray">
          <a:xfrm>
            <a:off x="0" y="3429000"/>
            <a:ext cx="12192000" cy="3429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5" name="Title">
            <a:extLst>
              <a:ext uri="{FF2B5EF4-FFF2-40B4-BE49-F238E27FC236}">
                <a16:creationId xmlns:a16="http://schemas.microsoft.com/office/drawing/2014/main" id="{5A261848-C0F2-4BE9-9D95-DE49D36D86AB}"/>
              </a:ext>
            </a:extLst>
          </p:cNvPr>
          <p:cNvSpPr>
            <a:spLocks noGrp="1"/>
          </p:cNvSpPr>
          <p:nvPr>
            <p:ph type="title"/>
          </p:nvPr>
        </p:nvSpPr>
        <p:spPr>
          <a:xfrm>
            <a:off x="563881" y="533401"/>
            <a:ext cx="2654859"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6" name="Subtitle">
            <a:extLst>
              <a:ext uri="{FF2B5EF4-FFF2-40B4-BE49-F238E27FC236}">
                <a16:creationId xmlns:a16="http://schemas.microsoft.com/office/drawing/2014/main" id="{DB0B25B7-DC54-4DC8-AF2D-2459A40F8057}"/>
              </a:ext>
            </a:extLst>
          </p:cNvPr>
          <p:cNvSpPr>
            <a:spLocks noGrp="1"/>
          </p:cNvSpPr>
          <p:nvPr>
            <p:ph type="body" sz="quarter" idx="14" hasCustomPrompt="1"/>
          </p:nvPr>
        </p:nvSpPr>
        <p:spPr>
          <a:xfrm>
            <a:off x="3365738" y="533402"/>
            <a:ext cx="5458119" cy="514351"/>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Body copy column 1">
            <a:extLst>
              <a:ext uri="{FF2B5EF4-FFF2-40B4-BE49-F238E27FC236}">
                <a16:creationId xmlns:a16="http://schemas.microsoft.com/office/drawing/2014/main" id="{8F45A7C0-8ED1-4140-97B8-08F657F313C4}"/>
              </a:ext>
            </a:extLst>
          </p:cNvPr>
          <p:cNvSpPr>
            <a:spLocks noGrp="1"/>
          </p:cNvSpPr>
          <p:nvPr>
            <p:ph type="body" sz="quarter" idx="10" hasCustomPrompt="1"/>
          </p:nvPr>
        </p:nvSpPr>
        <p:spPr>
          <a:xfrm>
            <a:off x="563881" y="1485901"/>
            <a:ext cx="2654859"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Body copy column 2">
            <a:extLst>
              <a:ext uri="{FF2B5EF4-FFF2-40B4-BE49-F238E27FC236}">
                <a16:creationId xmlns:a16="http://schemas.microsoft.com/office/drawing/2014/main" id="{777D8F0E-1486-4DBF-9579-9D84F2AAF1AB}"/>
              </a:ext>
            </a:extLst>
          </p:cNvPr>
          <p:cNvSpPr>
            <a:spLocks noGrp="1"/>
          </p:cNvSpPr>
          <p:nvPr>
            <p:ph type="body" sz="quarter" idx="11" hasCustomPrompt="1"/>
          </p:nvPr>
        </p:nvSpPr>
        <p:spPr>
          <a:xfrm>
            <a:off x="3365737" y="1485901"/>
            <a:ext cx="2654859"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9" name="Body copy column 3">
            <a:extLst>
              <a:ext uri="{FF2B5EF4-FFF2-40B4-BE49-F238E27FC236}">
                <a16:creationId xmlns:a16="http://schemas.microsoft.com/office/drawing/2014/main" id="{500A52DF-4EF7-44F6-89AA-995B87B1B451}"/>
              </a:ext>
            </a:extLst>
          </p:cNvPr>
          <p:cNvSpPr>
            <a:spLocks noGrp="1"/>
          </p:cNvSpPr>
          <p:nvPr>
            <p:ph type="body" sz="quarter" idx="12" hasCustomPrompt="1"/>
          </p:nvPr>
        </p:nvSpPr>
        <p:spPr>
          <a:xfrm>
            <a:off x="6167593" y="1485901"/>
            <a:ext cx="2654859"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0" name="Body copy column 4">
            <a:extLst>
              <a:ext uri="{FF2B5EF4-FFF2-40B4-BE49-F238E27FC236}">
                <a16:creationId xmlns:a16="http://schemas.microsoft.com/office/drawing/2014/main" id="{6141702D-326F-4051-8778-590854CB878A}"/>
              </a:ext>
            </a:extLst>
          </p:cNvPr>
          <p:cNvSpPr>
            <a:spLocks noGrp="1"/>
          </p:cNvSpPr>
          <p:nvPr>
            <p:ph type="body" sz="quarter" idx="13" hasCustomPrompt="1"/>
          </p:nvPr>
        </p:nvSpPr>
        <p:spPr>
          <a:xfrm>
            <a:off x="8974668" y="1485901"/>
            <a:ext cx="2654859"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Tree>
    <p:extLst>
      <p:ext uri="{BB962C8B-B14F-4D97-AF65-F5344CB8AC3E}">
        <p14:creationId xmlns:p14="http://schemas.microsoft.com/office/powerpoint/2010/main" val="358833164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ocument blank slide with dark background">
    <p:spTree>
      <p:nvGrpSpPr>
        <p:cNvPr id="1" name=""/>
        <p:cNvGrpSpPr/>
        <p:nvPr/>
      </p:nvGrpSpPr>
      <p:grpSpPr>
        <a:xfrm>
          <a:off x="0" y="0"/>
          <a:ext cx="0" cy="0"/>
          <a:chOff x="0" y="0"/>
          <a:chExt cx="0" cy="0"/>
        </a:xfrm>
      </p:grpSpPr>
      <p:sp>
        <p:nvSpPr>
          <p:cNvPr id="8" name="Slide number">
            <a:extLst>
              <a:ext uri="{FF2B5EF4-FFF2-40B4-BE49-F238E27FC236}">
                <a16:creationId xmlns:a16="http://schemas.microsoft.com/office/drawing/2014/main" id="{E8D26A22-4F0A-483E-AE31-968B2AA902BD}"/>
              </a:ext>
              <a:ext uri="{C183D7F6-B498-43B3-948B-1728B52AA6E4}">
                <adec:decorative xmlns:adec="http://schemas.microsoft.com/office/drawing/2017/decorative" val="1"/>
              </a:ext>
            </a:extLst>
          </p:cNvPr>
          <p:cNvSpPr>
            <a:spLocks noGrp="1"/>
          </p:cNvSpPr>
          <p:nvPr>
            <p:ph type="sldNum" sz="quarter" idx="4"/>
          </p:nvPr>
        </p:nvSpPr>
        <p:spPr>
          <a:xfrm>
            <a:off x="549130" y="6516660"/>
            <a:ext cx="158751"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4" defTabSz="761921">
              <a:defRPr/>
            </a:pPr>
            <a:fld id="{81D60167-4931-47E6-BA6A-407CBD079E47}" type="slidenum">
              <a:rPr lang="en-US" smtClean="0">
                <a:solidFill>
                  <a:srgbClr val="FFFFFF"/>
                </a:solidFill>
              </a:rPr>
              <a:pPr marL="21164" defTabSz="761921">
                <a:defRPr/>
              </a:pPr>
              <a:t>‹#›</a:t>
            </a:fld>
            <a:endParaRPr lang="en-US">
              <a:solidFill>
                <a:srgbClr val="FFFFFF"/>
              </a:solidFill>
            </a:endParaRPr>
          </a:p>
        </p:txBody>
      </p:sp>
      <p:sp>
        <p:nvSpPr>
          <p:cNvPr id="9" name="Footer note">
            <a:extLst>
              <a:ext uri="{FF2B5EF4-FFF2-40B4-BE49-F238E27FC236}">
                <a16:creationId xmlns:a16="http://schemas.microsoft.com/office/drawing/2014/main" id="{9117D1D7-81FA-48E2-A9DA-31880838B6DD}"/>
              </a:ext>
              <a:ext uri="{C183D7F6-B498-43B3-948B-1728B52AA6E4}">
                <adec:decorative xmlns:adec="http://schemas.microsoft.com/office/drawing/2017/decorative" val="1"/>
              </a:ext>
            </a:extLst>
          </p:cNvPr>
          <p:cNvSpPr>
            <a:spLocks noGrp="1"/>
          </p:cNvSpPr>
          <p:nvPr>
            <p:ph type="ftr" sz="quarter" idx="3"/>
          </p:nvPr>
        </p:nvSpPr>
        <p:spPr>
          <a:xfrm>
            <a:off x="856731"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1" defTabSz="761921">
              <a:defRPr/>
            </a:pPr>
            <a:r>
              <a:rPr lang="en-US">
                <a:solidFill>
                  <a:srgbClr val="FFFFFF"/>
                </a:solidFill>
              </a:rPr>
              <a:t>Windows execution guidelines/Template/Section name</a:t>
            </a:r>
          </a:p>
        </p:txBody>
      </p:sp>
    </p:spTree>
    <p:extLst>
      <p:ext uri="{BB962C8B-B14F-4D97-AF65-F5344CB8AC3E}">
        <p14:creationId xmlns:p14="http://schemas.microsoft.com/office/powerpoint/2010/main" val="220540117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Headline Only ">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2"/>
            <a:ext cx="11018520" cy="553999"/>
          </a:xfrm>
          <a:prstGeom prst="rect">
            <a:avLst/>
          </a:prstGeom>
        </p:spPr>
        <p:txBody>
          <a:bodyPr lIns="0" tIns="0" rIns="0" bIns="0"/>
          <a:lstStyle>
            <a:lvl1pPr>
              <a:defRPr sz="3600">
                <a:solidFill>
                  <a:srgbClr val="60CDFF"/>
                </a:solidFill>
              </a:defRPr>
            </a:lvl1pPr>
          </a:lstStyle>
          <a:p>
            <a:r>
              <a:rPr lang="en-US"/>
              <a:t>Click to edit Master title style</a:t>
            </a:r>
          </a:p>
        </p:txBody>
      </p:sp>
      <p:sp>
        <p:nvSpPr>
          <p:cNvPr id="5" name="Content Placeholder 3">
            <a:extLst>
              <a:ext uri="{FF2B5EF4-FFF2-40B4-BE49-F238E27FC236}">
                <a16:creationId xmlns:a16="http://schemas.microsoft.com/office/drawing/2014/main" id="{8E74214C-BE6A-F4C5-9EAC-40C6CF1AD7CF}"/>
              </a:ext>
            </a:extLst>
          </p:cNvPr>
          <p:cNvSpPr>
            <a:spLocks noGrp="1"/>
          </p:cNvSpPr>
          <p:nvPr>
            <p:ph sz="quarter" idx="10"/>
          </p:nvPr>
        </p:nvSpPr>
        <p:spPr>
          <a:xfrm>
            <a:off x="584202" y="1113438"/>
            <a:ext cx="11018839" cy="270755"/>
          </a:xfrm>
          <a:prstGeom prst="rect">
            <a:avLst/>
          </a:prstGeom>
        </p:spPr>
        <p:txBody>
          <a:bodyPr lIns="0" tIns="0" rIns="0" bIns="0"/>
          <a:lstStyle>
            <a:lvl1pPr>
              <a:defRPr sz="1800">
                <a:solidFill>
                  <a:schemeClr val="bg1"/>
                </a:solidFill>
                <a:latin typeface="+mj-lt"/>
              </a:defRPr>
            </a:lvl1pPr>
            <a:lvl2pPr>
              <a:defRPr sz="1400">
                <a:solidFill>
                  <a:schemeClr val="bg1"/>
                </a:solidFill>
              </a:defRPr>
            </a:lvl2pPr>
            <a:lvl3pPr>
              <a:defRPr sz="1200">
                <a:solidFill>
                  <a:schemeClr val="bg1"/>
                </a:solidFill>
              </a:defRPr>
            </a:lvl3pPr>
            <a:lvl4pPr>
              <a:defRPr sz="1051">
                <a:solidFill>
                  <a:schemeClr val="bg1"/>
                </a:solidFill>
              </a:defRPr>
            </a:lvl4pPr>
            <a:lvl5pPr>
              <a:defRPr sz="9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29310404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Document blank slide with black backgroun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173A6CC-8A41-43DF-BEE5-09DD7068C98D}"/>
              </a:ext>
            </a:extLst>
          </p:cNvPr>
          <p:cNvSpPr>
            <a:spLocks noGrp="1"/>
          </p:cNvSpPr>
          <p:nvPr>
            <p:ph type="body" sz="quarter" idx="10"/>
          </p:nvPr>
        </p:nvSpPr>
        <p:spPr>
          <a:xfrm>
            <a:off x="640436" y="591450"/>
            <a:ext cx="10911131" cy="556807"/>
          </a:xfrm>
          <a:prstGeom prst="rect">
            <a:avLst/>
          </a:prstGeom>
        </p:spPr>
        <p:txBody>
          <a:bodyPr lIns="0" tIns="0" rIns="0" bIns="0"/>
          <a:lstStyle>
            <a:lvl1pPr algn="l">
              <a:defRPr kumimoji="0" lang="en-US" sz="3600" b="0" i="0" u="none" strike="noStrike" kern="1200" cap="none" spc="0" normalizeH="0" baseline="0" dirty="0" smtClean="0">
                <a:ln>
                  <a:noFill/>
                </a:ln>
                <a:solidFill>
                  <a:srgbClr val="60CDFF"/>
                </a:solidFill>
                <a:effectLst/>
                <a:uLnTx/>
                <a:uFillTx/>
                <a:latin typeface="+mj-lt"/>
                <a:ea typeface="+mn-ea"/>
                <a:cs typeface="+mn-cs"/>
              </a:defRPr>
            </a:lvl1pPr>
            <a:lvl2pPr algn="ctr">
              <a:defRPr sz="3600">
                <a:solidFill>
                  <a:schemeClr val="bg1"/>
                </a:solidFill>
                <a:latin typeface="+mj-lt"/>
              </a:defRPr>
            </a:lvl2pPr>
            <a:lvl3pPr algn="ctr">
              <a:defRPr sz="3600">
                <a:solidFill>
                  <a:schemeClr val="bg1"/>
                </a:solidFill>
                <a:latin typeface="+mj-lt"/>
              </a:defRPr>
            </a:lvl3pPr>
            <a:lvl4pPr algn="ctr">
              <a:defRPr sz="3600">
                <a:solidFill>
                  <a:schemeClr val="bg1"/>
                </a:solidFill>
                <a:latin typeface="+mj-lt"/>
              </a:defRPr>
            </a:lvl4pPr>
            <a:lvl5pPr algn="ctr">
              <a:defRPr sz="3600">
                <a:solidFill>
                  <a:schemeClr val="bg1"/>
                </a:solidFill>
                <a:latin typeface="+mj-lt"/>
              </a:defRPr>
            </a:lvl5pPr>
          </a:lstStyle>
          <a:p>
            <a:pPr marL="0" marR="0" lvl="0" indent="0" algn="l" defTabSz="1097209" rtl="0" eaLnBrk="1" fontAlgn="auto" latinLnBrk="0" hangingPunct="1">
              <a:lnSpc>
                <a:spcPct val="100000"/>
              </a:lnSpc>
              <a:spcBef>
                <a:spcPts val="0"/>
              </a:spcBef>
              <a:spcAft>
                <a:spcPts val="0"/>
              </a:spcAft>
              <a:buClrTx/>
              <a:buSzTx/>
              <a:buFontTx/>
              <a:buNone/>
              <a:tabLst/>
              <a:defRPr/>
            </a:pPr>
            <a:r>
              <a:rPr lang="en-US"/>
              <a:t>Click to edit Master text styles</a:t>
            </a:r>
          </a:p>
        </p:txBody>
      </p:sp>
    </p:spTree>
    <p:extLst>
      <p:ext uri="{BB962C8B-B14F-4D97-AF65-F5344CB8AC3E}">
        <p14:creationId xmlns:p14="http://schemas.microsoft.com/office/powerpoint/2010/main" val="277880979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ocument slide with large gray type on white background">
    <p:spTree>
      <p:nvGrpSpPr>
        <p:cNvPr id="1" name=""/>
        <p:cNvGrpSpPr/>
        <p:nvPr/>
      </p:nvGrpSpPr>
      <p:grpSpPr>
        <a:xfrm>
          <a:off x="0" y="0"/>
          <a:ext cx="0" cy="0"/>
          <a:chOff x="0" y="0"/>
          <a:chExt cx="0" cy="0"/>
        </a:xfrm>
      </p:grpSpPr>
      <p:sp>
        <p:nvSpPr>
          <p:cNvPr id="2" name="Body copy">
            <a:extLst>
              <a:ext uri="{FF2B5EF4-FFF2-40B4-BE49-F238E27FC236}">
                <a16:creationId xmlns:a16="http://schemas.microsoft.com/office/drawing/2014/main" id="{C69B3CBA-83AC-4E4F-9939-33ED461E345E}"/>
              </a:ext>
            </a:extLst>
          </p:cNvPr>
          <p:cNvSpPr>
            <a:spLocks noGrp="1"/>
          </p:cNvSpPr>
          <p:nvPr>
            <p:ph type="title" hasCustomPrompt="1"/>
          </p:nvPr>
        </p:nvSpPr>
        <p:spPr>
          <a:xfrm>
            <a:off x="3372118" y="462771"/>
            <a:ext cx="5451739" cy="5814599"/>
          </a:xfrm>
          <a:prstGeom prst="rect">
            <a:avLst/>
          </a:prstGeom>
        </p:spPr>
        <p:txBody>
          <a:bodyPr lIns="0" tIns="0" rIns="0" bIns="0"/>
          <a:lstStyle>
            <a:lvl1pPr>
              <a:lnSpc>
                <a:spcPct val="100000"/>
              </a:lnSpc>
              <a:spcAft>
                <a:spcPts val="667"/>
              </a:spcAft>
              <a:defRPr lang="en-US" sz="4000" kern="1200" spc="-83" baseline="0" dirty="0">
                <a:solidFill>
                  <a:srgbClr val="1B1B1B"/>
                </a:solidFill>
                <a:latin typeface="+mj-lt"/>
                <a:ea typeface="+mn-ea"/>
                <a:cs typeface="Segoe UI" panose="020B0502040204020203" pitchFamily="34" charset="0"/>
              </a:defRPr>
            </a:lvl1pPr>
          </a:lstStyle>
          <a:p>
            <a:r>
              <a:rPr lang="fr-FR"/>
              <a:t>Click to </a:t>
            </a:r>
            <a:r>
              <a:rPr lang="fr-FR" err="1"/>
              <a:t>edit</a:t>
            </a:r>
            <a:r>
              <a:rPr lang="fr-FR"/>
              <a:t> copy</a:t>
            </a:r>
            <a:endParaRPr lang="en-US"/>
          </a:p>
        </p:txBody>
      </p:sp>
      <p:sp>
        <p:nvSpPr>
          <p:cNvPr id="5" name="Slide number">
            <a:extLst>
              <a:ext uri="{FF2B5EF4-FFF2-40B4-BE49-F238E27FC236}">
                <a16:creationId xmlns:a16="http://schemas.microsoft.com/office/drawing/2014/main" id="{49E99B2B-D237-4D17-AE44-94AF935C92C3}"/>
              </a:ext>
              <a:ext uri="{C183D7F6-B498-43B3-948B-1728B52AA6E4}">
                <adec:decorative xmlns:adec="http://schemas.microsoft.com/office/drawing/2017/decorative" val="1"/>
              </a:ext>
            </a:extLst>
          </p:cNvPr>
          <p:cNvSpPr>
            <a:spLocks noGrp="1"/>
          </p:cNvSpPr>
          <p:nvPr>
            <p:ph type="sldNum" sz="quarter" idx="4"/>
          </p:nvPr>
        </p:nvSpPr>
        <p:spPr>
          <a:xfrm>
            <a:off x="549130" y="6516660"/>
            <a:ext cx="158751" cy="128240"/>
          </a:xfrm>
          <a:prstGeom prst="rect">
            <a:avLst/>
          </a:prstGeom>
        </p:spPr>
        <p:txBody>
          <a:bodyPr lIns="0" tIns="0" rIns="0" bIns="0" anchor="b" anchorCtr="0"/>
          <a:lstStyle>
            <a:lvl1pPr>
              <a:lnSpc>
                <a:spcPct val="100000"/>
              </a:lnSpc>
              <a:spcBef>
                <a:spcPts val="0"/>
              </a:spcBef>
              <a:defRPr sz="667" b="0" i="0" spc="0" baseline="0">
                <a:solidFill>
                  <a:srgbClr val="1B1B1B"/>
                </a:solidFill>
                <a:latin typeface="Segoe UI" panose="020B0502040204020203" pitchFamily="34" charset="0"/>
                <a:cs typeface="Segoe UI" panose="020B0502040204020203" pitchFamily="34" charset="0"/>
              </a:defRPr>
            </a:lvl1pPr>
          </a:lstStyle>
          <a:p>
            <a:pPr marL="21162" defTabSz="761890">
              <a:defRPr/>
            </a:pPr>
            <a:fld id="{81D60167-4931-47E6-BA6A-407CBD079E47}" type="slidenum">
              <a:rPr lang="en-US" smtClean="0"/>
              <a:pPr marL="21162" defTabSz="761890">
                <a:defRPr/>
              </a:pPr>
              <a:t>‹#›</a:t>
            </a:fld>
            <a:endParaRPr lang="en-US"/>
          </a:p>
        </p:txBody>
      </p:sp>
      <p:sp>
        <p:nvSpPr>
          <p:cNvPr id="6" name="Footer note">
            <a:extLst>
              <a:ext uri="{FF2B5EF4-FFF2-40B4-BE49-F238E27FC236}">
                <a16:creationId xmlns:a16="http://schemas.microsoft.com/office/drawing/2014/main" id="{BCD1FBDB-187D-4242-A0C7-A4D4A2115870}"/>
              </a:ext>
              <a:ext uri="{C183D7F6-B498-43B3-948B-1728B52AA6E4}">
                <adec:decorative xmlns:adec="http://schemas.microsoft.com/office/drawing/2017/decorative" val="1"/>
              </a:ext>
            </a:extLst>
          </p:cNvPr>
          <p:cNvSpPr>
            <a:spLocks noGrp="1"/>
          </p:cNvSpPr>
          <p:nvPr>
            <p:ph type="ftr" sz="quarter" idx="3"/>
          </p:nvPr>
        </p:nvSpPr>
        <p:spPr>
          <a:xfrm>
            <a:off x="856731" y="6516660"/>
            <a:ext cx="2707080" cy="128240"/>
          </a:xfrm>
          <a:prstGeom prst="rect">
            <a:avLst/>
          </a:prstGeom>
        </p:spPr>
        <p:txBody>
          <a:bodyPr lIns="0" tIns="0" rIns="0" bIns="0" anchor="b" anchorCtr="0"/>
          <a:lstStyle>
            <a:lvl1pPr>
              <a:lnSpc>
                <a:spcPct val="100000"/>
              </a:lnSpc>
              <a:spcBef>
                <a:spcPts val="0"/>
              </a:spcBef>
              <a:defRPr sz="667" b="0" i="0" spc="0" baseline="0">
                <a:solidFill>
                  <a:srgbClr val="1B1B1B"/>
                </a:solidFill>
                <a:latin typeface="Segoe UI" panose="020B0502040204020203" pitchFamily="34" charset="0"/>
                <a:cs typeface="Segoe UI" panose="020B0502040204020203" pitchFamily="34" charset="0"/>
              </a:defRPr>
            </a:lvl1pPr>
          </a:lstStyle>
          <a:p>
            <a:pPr marL="10581" defTabSz="761890">
              <a:defRPr/>
            </a:pPr>
            <a:r>
              <a:rPr lang="en-US"/>
              <a:t>Windows execution guidelines/Template/Section name</a:t>
            </a:r>
          </a:p>
        </p:txBody>
      </p:sp>
    </p:spTree>
    <p:extLst>
      <p:ext uri="{BB962C8B-B14F-4D97-AF65-F5344CB8AC3E}">
        <p14:creationId xmlns:p14="http://schemas.microsoft.com/office/powerpoint/2010/main" val="305237780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1737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37754-1E54-4DE1-4105-24A0C360E2C8}"/>
              </a:ext>
            </a:extLst>
          </p:cNvPr>
          <p:cNvSpPr>
            <a:spLocks noGrp="1"/>
          </p:cNvSpPr>
          <p:nvPr>
            <p:ph type="title"/>
          </p:nvPr>
        </p:nvSpPr>
        <p:spPr>
          <a:xfrm>
            <a:off x="435006" y="302983"/>
            <a:ext cx="10918795" cy="726828"/>
          </a:xfrm>
        </p:spPr>
        <p:txBody>
          <a:bodyPr>
            <a:normAutofit/>
          </a:bodyPr>
          <a:lstStyle>
            <a:lvl1pPr>
              <a:defRPr sz="2800"/>
            </a:lvl1pPr>
          </a:lstStyle>
          <a:p>
            <a:r>
              <a:rPr lang="en-US"/>
              <a:t>Click to edit Master title style</a:t>
            </a:r>
          </a:p>
        </p:txBody>
      </p:sp>
    </p:spTree>
    <p:extLst>
      <p:ext uri="{BB962C8B-B14F-4D97-AF65-F5344CB8AC3E}">
        <p14:creationId xmlns:p14="http://schemas.microsoft.com/office/powerpoint/2010/main" val="1745733597"/>
      </p:ext>
    </p:extLst>
  </p:cSld>
  <p:clrMapOvr>
    <a:masterClrMapping/>
  </p:clrMapOvr>
  <p:hf sldNum="0"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ocument closing slide with Windows logo on light 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4088435"/>
      </p:ext>
    </p:extLst>
  </p:cSld>
  <p:clrMapOvr>
    <a:masterClrMapping/>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1 column DENS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7F68E56-55A8-4E1E-A952-B949F069366A}"/>
              </a:ext>
            </a:extLst>
          </p:cNvPr>
          <p:cNvSpPr>
            <a:spLocks noGrp="1"/>
          </p:cNvSpPr>
          <p:nvPr>
            <p:ph type="title" hasCustomPrompt="1"/>
          </p:nvPr>
        </p:nvSpPr>
        <p:spPr>
          <a:xfrm>
            <a:off x="381001" y="381000"/>
            <a:ext cx="11408732" cy="685800"/>
          </a:xfrm>
          <a:prstGeom prst="rect">
            <a:avLst/>
          </a:prstGeom>
        </p:spPr>
        <p:txBody>
          <a:bodyPr anchor="t">
            <a:noAutofit/>
          </a:bodyPr>
          <a:lstStyle>
            <a:lvl1pPr>
              <a:defRPr sz="2600" b="1" i="0">
                <a:latin typeface="Segoe UI" panose="020B0502040204020203" pitchFamily="34" charset="0"/>
                <a:cs typeface="Segoe UI" panose="020B0502040204020203" pitchFamily="34" charset="0"/>
              </a:defRPr>
            </a:lvl1pPr>
          </a:lstStyle>
          <a:p>
            <a:r>
              <a:rPr lang="en-US"/>
              <a:t>1 column layout – DENSE</a:t>
            </a:r>
          </a:p>
        </p:txBody>
      </p:sp>
      <p:sp>
        <p:nvSpPr>
          <p:cNvPr id="6" name="Content Placeholder 5">
            <a:extLst>
              <a:ext uri="{FF2B5EF4-FFF2-40B4-BE49-F238E27FC236}">
                <a16:creationId xmlns:a16="http://schemas.microsoft.com/office/drawing/2014/main" id="{CD6A0AEF-D59F-1E4E-BC78-115559D684E5}"/>
              </a:ext>
            </a:extLst>
          </p:cNvPr>
          <p:cNvSpPr>
            <a:spLocks noGrp="1"/>
          </p:cNvSpPr>
          <p:nvPr>
            <p:ph sz="quarter" idx="15"/>
          </p:nvPr>
        </p:nvSpPr>
        <p:spPr>
          <a:xfrm>
            <a:off x="381000" y="1066802"/>
            <a:ext cx="11408733" cy="538162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4">
            <a:extLst>
              <a:ext uri="{FF2B5EF4-FFF2-40B4-BE49-F238E27FC236}">
                <a16:creationId xmlns:a16="http://schemas.microsoft.com/office/drawing/2014/main" id="{9FF554D9-DA5E-C14A-9CAF-5BE4FCD0C52A}"/>
              </a:ext>
            </a:extLst>
          </p:cNvPr>
          <p:cNvSpPr>
            <a:spLocks noGrp="1"/>
          </p:cNvSpPr>
          <p:nvPr>
            <p:ph type="sldNum" sz="quarter" idx="4"/>
          </p:nvPr>
        </p:nvSpPr>
        <p:spPr>
          <a:xfrm>
            <a:off x="11789735" y="6448427"/>
            <a:ext cx="381000" cy="409575"/>
          </a:xfrm>
          <a:prstGeom prst="rect">
            <a:avLst/>
          </a:prstGeom>
        </p:spPr>
        <p:txBody>
          <a:bodyPr vert="horz" lIns="0" tIns="0" rIns="0" bIns="0" rtlCol="0" anchor="t"/>
          <a:lstStyle>
            <a:lvl1pPr algn="l">
              <a:defRPr sz="1200" b="0" i="0" spc="0">
                <a:solidFill>
                  <a:schemeClr val="tx1">
                    <a:tint val="75000"/>
                  </a:schemeClr>
                </a:solidFill>
                <a:latin typeface="Segoe UI" panose="020B0502040204020203" pitchFamily="34" charset="0"/>
                <a:cs typeface="Segoe UI" panose="020B0502040204020203" pitchFamily="34" charset="0"/>
              </a:defRPr>
            </a:lvl1pPr>
          </a:lstStyle>
          <a:p>
            <a:pPr>
              <a:defRPr/>
            </a:pPr>
            <a:fld id="{3E0FEC93-3AD6-4EB3-8926-0C45EF6FA578}" type="slidenum">
              <a:rPr lang="en-US" smtClean="0">
                <a:solidFill>
                  <a:srgbClr val="000000">
                    <a:tint val="75000"/>
                  </a:srgbClr>
                </a:solidFill>
              </a:rPr>
              <a:pPr>
                <a:defRPr/>
              </a:pPr>
              <a:t>‹#›</a:t>
            </a:fld>
            <a:endParaRPr lang="en-US">
              <a:solidFill>
                <a:srgbClr val="000000">
                  <a:tint val="75000"/>
                </a:srgbClr>
              </a:solidFill>
            </a:endParaRPr>
          </a:p>
        </p:txBody>
      </p:sp>
    </p:spTree>
    <p:extLst>
      <p:ext uri="{BB962C8B-B14F-4D97-AF65-F5344CB8AC3E}">
        <p14:creationId xmlns:p14="http://schemas.microsoft.com/office/powerpoint/2010/main" val="1390811973"/>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87B3431-0543-181B-1566-EE82A75112CB}"/>
              </a:ext>
            </a:extLst>
          </p:cNvPr>
          <p:cNvSpPr>
            <a:spLocks noGrp="1"/>
          </p:cNvSpPr>
          <p:nvPr>
            <p:ph type="dt" sz="half" idx="10"/>
          </p:nvPr>
        </p:nvSpPr>
        <p:spPr/>
        <p:txBody>
          <a:bodyPr/>
          <a:lstStyle/>
          <a:p>
            <a:fld id="{2010D01F-1BC2-4E69-9F2A-DDC2A48BBAEC}" type="datetimeFigureOut">
              <a:rPr lang="en-US" smtClean="0"/>
              <a:t>4/9/2025</a:t>
            </a:fld>
            <a:endParaRPr lang="en-US"/>
          </a:p>
        </p:txBody>
      </p:sp>
      <p:sp>
        <p:nvSpPr>
          <p:cNvPr id="3" name="Footer Placeholder 2">
            <a:extLst>
              <a:ext uri="{FF2B5EF4-FFF2-40B4-BE49-F238E27FC236}">
                <a16:creationId xmlns:a16="http://schemas.microsoft.com/office/drawing/2014/main" id="{A6AC14A0-3232-5D8D-4072-A302425CCAB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9DE2A19-388C-EAF0-3D77-1A4E06864C1A}"/>
              </a:ext>
            </a:extLst>
          </p:cNvPr>
          <p:cNvSpPr>
            <a:spLocks noGrp="1"/>
          </p:cNvSpPr>
          <p:nvPr>
            <p:ph type="sldNum" sz="quarter" idx="12"/>
          </p:nvPr>
        </p:nvSpPr>
        <p:spPr/>
        <p:txBody>
          <a:bodyPr/>
          <a:lstStyle/>
          <a:p>
            <a:fld id="{90623A98-DEB9-4ABD-BEA8-088375254FC1}" type="slidenum">
              <a:rPr lang="en-US" smtClean="0"/>
              <a:t>‹#›</a:t>
            </a:fld>
            <a:endParaRPr lang="en-US"/>
          </a:p>
        </p:txBody>
      </p:sp>
    </p:spTree>
    <p:extLst>
      <p:ext uri="{BB962C8B-B14F-4D97-AF65-F5344CB8AC3E}">
        <p14:creationId xmlns:p14="http://schemas.microsoft.com/office/powerpoint/2010/main" val="12427205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team name">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12E454D-5ADF-6B38-1402-8FD697EEEF7C}"/>
              </a:ext>
            </a:extLst>
          </p:cNvPr>
          <p:cNvGraphicFramePr>
            <a:graphicFrameLocks noChangeAspect="1"/>
          </p:cNvGraphicFramePr>
          <p:nvPr userDrawn="1">
            <p:custDataLst>
              <p:tags r:id="rId1"/>
            </p:custDataLst>
            <p:extLst>
              <p:ext uri="{D42A27DB-BD31-4B8C-83A1-F6EECF244321}">
                <p14:modId xmlns:p14="http://schemas.microsoft.com/office/powerpoint/2010/main" val="211071792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812E454D-5ADF-6B38-1402-8FD697EEEF7C}"/>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24031" y="3201274"/>
            <a:ext cx="7643671" cy="738664"/>
          </a:xfrm>
          <a:prstGeom prst="rect">
            <a:avLst/>
          </a:prstGeom>
        </p:spPr>
        <p:txBody>
          <a:bodyPr vert="horz" wrap="square" lIns="0" tIns="0" rIns="0" bIns="0" anchor="b" anchorCtr="0">
            <a:spAutoFit/>
          </a:bodyPr>
          <a:lstStyle>
            <a:lvl1pPr marL="0" marR="0" indent="0" algn="l" defTabSz="932402" rtl="0" eaLnBrk="1" fontAlgn="auto" latinLnBrk="0" hangingPunct="1">
              <a:lnSpc>
                <a:spcPct val="100000"/>
              </a:lnSpc>
              <a:spcBef>
                <a:spcPct val="0"/>
              </a:spcBef>
              <a:spcAft>
                <a:spcPts val="0"/>
              </a:spcAft>
              <a:buClrTx/>
              <a:buSzTx/>
              <a:buFontTx/>
              <a:buNone/>
              <a:tabLst>
                <a:tab pos="7197257" algn="l"/>
              </a:tabLst>
              <a:defRPr kumimoji="0" lang="en-US" sz="4800" b="0" i="0" u="none" strike="noStrike" kern="0" cap="none" spc="0" normalizeH="0" baseline="0" dirty="0">
                <a:ln w="3175">
                  <a:noFill/>
                </a:ln>
                <a:solidFill>
                  <a:schemeClr val="bg1"/>
                </a:solidFill>
                <a:effectLst/>
                <a:uLnTx/>
                <a:uFillTx/>
                <a:latin typeface="+mj-lt"/>
                <a:ea typeface="+mn-ea"/>
                <a:cs typeface="Segoe UI Semibold"/>
              </a:defRPr>
            </a:lvl1pPr>
          </a:lstStyle>
          <a:p>
            <a:r>
              <a:rPr lang="en-US"/>
              <a:t>Team name here</a:t>
            </a:r>
          </a:p>
        </p:txBody>
      </p:sp>
      <p:sp>
        <p:nvSpPr>
          <p:cNvPr id="5" name="Text Placeholder 4"/>
          <p:cNvSpPr>
            <a:spLocks noGrp="1"/>
          </p:cNvSpPr>
          <p:nvPr>
            <p:ph type="body" sz="quarter" idx="12" hasCustomPrompt="1"/>
          </p:nvPr>
        </p:nvSpPr>
        <p:spPr>
          <a:xfrm>
            <a:off x="617811" y="4368801"/>
            <a:ext cx="7643671" cy="369332"/>
          </a:xfrm>
          <a:prstGeom prst="rect">
            <a:avLst/>
          </a:prstGeom>
          <a:noFill/>
        </p:spPr>
        <p:txBody>
          <a:bodyPr wrap="square" lIns="0" tIns="0" rIns="0" bIns="0">
            <a:spAutoFit/>
          </a:bodyPr>
          <a:lstStyle>
            <a:lvl1pPr marL="0" indent="0">
              <a:spcBef>
                <a:spcPts val="0"/>
              </a:spcBef>
              <a:buNone/>
              <a:defRPr sz="2400" spc="0" baseline="0">
                <a:solidFill>
                  <a:schemeClr val="bg1"/>
                </a:solidFill>
                <a:latin typeface="+mj-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13139331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12E454D-5ADF-6B38-1402-8FD697EEEF7C}"/>
              </a:ext>
            </a:extLst>
          </p:cNvPr>
          <p:cNvGraphicFramePr>
            <a:graphicFrameLocks noChangeAspect="1"/>
          </p:cNvGraphicFramePr>
          <p:nvPr userDrawn="1">
            <p:custDataLst>
              <p:tags r:id="rId1"/>
            </p:custDataLst>
            <p:extLst>
              <p:ext uri="{D42A27DB-BD31-4B8C-83A1-F6EECF244321}">
                <p14:modId xmlns:p14="http://schemas.microsoft.com/office/powerpoint/2010/main" val="210562172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812E454D-5ADF-6B38-1402-8FD697EEEF7C}"/>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F8040608-FD3B-F6CD-6473-659797550705}"/>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24031" y="2820274"/>
            <a:ext cx="7643671" cy="738664"/>
          </a:xfrm>
          <a:prstGeom prst="rect">
            <a:avLst/>
          </a:prstGeom>
        </p:spPr>
        <p:txBody>
          <a:bodyPr vert="horz" wrap="square" lIns="0" tIns="0" rIns="0" bIns="0" anchor="b" anchorCtr="0">
            <a:spAutoFit/>
          </a:bodyPr>
          <a:lstStyle>
            <a:lvl1pPr marL="0" marR="0" indent="0" algn="l" defTabSz="932402" rtl="0" eaLnBrk="1" fontAlgn="auto" latinLnBrk="0" hangingPunct="1">
              <a:lnSpc>
                <a:spcPct val="100000"/>
              </a:lnSpc>
              <a:spcBef>
                <a:spcPct val="0"/>
              </a:spcBef>
              <a:spcAft>
                <a:spcPts val="0"/>
              </a:spcAft>
              <a:buClrTx/>
              <a:buSzTx/>
              <a:buFontTx/>
              <a:buNone/>
              <a:tabLst>
                <a:tab pos="7197257" algn="l"/>
              </a:tabLst>
              <a:defRPr kumimoji="0" lang="en-US" sz="4800" b="0" i="0" u="none" strike="noStrike" kern="0" cap="none" spc="0" normalizeH="0" baseline="0" dirty="0">
                <a:ln w="3175">
                  <a:noFill/>
                </a:ln>
                <a:solidFill>
                  <a:schemeClr val="bg1"/>
                </a:solidFill>
                <a:effectLst/>
                <a:uLnTx/>
                <a:uFillTx/>
                <a:latin typeface="+mj-lt"/>
                <a:ea typeface="+mn-ea"/>
                <a:cs typeface="Segoe UI Semibold"/>
              </a:defRPr>
            </a:lvl1pPr>
          </a:lstStyle>
          <a:p>
            <a:r>
              <a:rPr lang="en-US"/>
              <a:t>Team name here</a:t>
            </a:r>
          </a:p>
        </p:txBody>
      </p:sp>
      <p:sp>
        <p:nvSpPr>
          <p:cNvPr id="5" name="Text Placeholder 4"/>
          <p:cNvSpPr>
            <a:spLocks noGrp="1"/>
          </p:cNvSpPr>
          <p:nvPr>
            <p:ph type="body" sz="quarter" idx="12" hasCustomPrompt="1"/>
          </p:nvPr>
        </p:nvSpPr>
        <p:spPr>
          <a:xfrm>
            <a:off x="617811" y="3619501"/>
            <a:ext cx="7643671" cy="369332"/>
          </a:xfrm>
          <a:prstGeom prst="rect">
            <a:avLst/>
          </a:prstGeom>
          <a:noFill/>
        </p:spPr>
        <p:txBody>
          <a:bodyPr wrap="square" lIns="0" tIns="0" rIns="0" bIns="0">
            <a:spAutoFit/>
          </a:bodyPr>
          <a:lstStyle>
            <a:lvl1pPr marL="0" indent="0">
              <a:spcBef>
                <a:spcPts val="0"/>
              </a:spcBef>
              <a:buNone/>
              <a:defRPr sz="2400" spc="0" baseline="0">
                <a:solidFill>
                  <a:schemeClr val="bg1"/>
                </a:solidFill>
                <a:latin typeface="+mj-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34674422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 Square Photo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452440"/>
            <a:ext cx="4158363" cy="1107996"/>
          </a:xfrm>
          <a:prstGeom prst="rect">
            <a:avLst/>
          </a:prstGeom>
        </p:spPr>
        <p:txBody>
          <a:bodyPr anchor="t" anchorCtr="0"/>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2" y="1828802"/>
            <a:ext cx="4162425" cy="2733497"/>
          </a:xfrm>
          <a:prstGeom prst="rect">
            <a:avLst/>
          </a:prstGeom>
        </p:spPr>
        <p:txBody>
          <a:bodyPr/>
          <a:lstStyle>
            <a:lvl1pPr marL="0" indent="0">
              <a:buNone/>
              <a:defRPr sz="2200">
                <a:latin typeface="+mn-lt"/>
              </a:defRPr>
            </a:lvl1pPr>
            <a:lvl2pPr marL="228585" indent="0">
              <a:buNone/>
              <a:defRPr/>
            </a:lvl2pPr>
            <a:lvl3pPr marL="457171" indent="0">
              <a:buNone/>
              <a:defRPr/>
            </a:lvl3pPr>
            <a:lvl4pPr marL="661944" indent="0">
              <a:buNone/>
              <a:defRPr/>
            </a:lvl4pPr>
            <a:lvl5pPr marL="855607" indent="0">
              <a:buNone/>
              <a:defRPr/>
            </a:lvl5pPr>
          </a:lstStyle>
          <a:p>
            <a:pPr lvl="0"/>
            <a:r>
              <a:rPr lang="en-US"/>
              <a:t>Click to edit Master text styles</a:t>
            </a:r>
          </a:p>
        </p:txBody>
      </p:sp>
      <p:sp>
        <p:nvSpPr>
          <p:cNvPr id="6" name="Picture Placeholder 3">
            <a:extLst>
              <a:ext uri="{FF2B5EF4-FFF2-40B4-BE49-F238E27FC236}">
                <a16:creationId xmlns:a16="http://schemas.microsoft.com/office/drawing/2014/main" id="{82614C23-C42B-4866-AF99-7B174E4F48BF}"/>
              </a:ext>
            </a:extLst>
          </p:cNvPr>
          <p:cNvSpPr>
            <a:spLocks noGrp="1"/>
          </p:cNvSpPr>
          <p:nvPr>
            <p:ph type="pic" sz="quarter" idx="13" hasCustomPrompt="1"/>
          </p:nvPr>
        </p:nvSpPr>
        <p:spPr bwMode="ltGray">
          <a:xfrm>
            <a:off x="5343526" y="0"/>
            <a:ext cx="6848475" cy="68580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algn="ctr">
              <a:buNone/>
              <a:defRPr lang="en-US" sz="1400" b="1" dirty="0">
                <a:solidFill>
                  <a:srgbClr val="000000"/>
                </a:solidFill>
              </a:defRPr>
            </a:lvl1pPr>
          </a:lstStyle>
          <a:p>
            <a:pPr marL="0" lvl="0" indent="0" algn="ctr">
              <a:buNone/>
            </a:pPr>
            <a:r>
              <a:rPr lang="en-US"/>
              <a:t>Drag &amp; drop your photo here </a:t>
            </a:r>
            <a:br>
              <a:rPr lang="en-US"/>
            </a:br>
            <a:r>
              <a:rPr lang="en-US"/>
              <a:t>or click to tap icon below </a:t>
            </a:r>
            <a:br>
              <a:rPr lang="en-US"/>
            </a:br>
            <a:r>
              <a:rPr lang="en-US"/>
              <a:t>to insert</a:t>
            </a:r>
          </a:p>
        </p:txBody>
      </p:sp>
    </p:spTree>
    <p:extLst>
      <p:ext uri="{BB962C8B-B14F-4D97-AF65-F5344CB8AC3E}">
        <p14:creationId xmlns:p14="http://schemas.microsoft.com/office/powerpoint/2010/main" val="18679329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152">
          <p15:clr>
            <a:srgbClr val="5ACBF0"/>
          </p15:clr>
        </p15:guide>
        <p15:guide id="8" orient="horz" pos="285">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2_Blank_1">
    <p:spTree>
      <p:nvGrpSpPr>
        <p:cNvPr id="1" name=""/>
        <p:cNvGrpSpPr/>
        <p:nvPr/>
      </p:nvGrpSpPr>
      <p:grpSpPr>
        <a:xfrm>
          <a:off x="0" y="0"/>
          <a:ext cx="0" cy="0"/>
          <a:chOff x="0" y="0"/>
          <a:chExt cx="0" cy="0"/>
        </a:xfrm>
      </p:grpSpPr>
      <p:sp>
        <p:nvSpPr>
          <p:cNvPr id="4" name="Slide Number Placeholder 12"/>
          <p:cNvSpPr>
            <a:spLocks noGrp="1"/>
          </p:cNvSpPr>
          <p:nvPr>
            <p:ph type="sldNum" sz="quarter" idx="4"/>
          </p:nvPr>
        </p:nvSpPr>
        <p:spPr>
          <a:xfrm>
            <a:off x="9180575" y="6248511"/>
            <a:ext cx="2742188" cy="364224"/>
          </a:xfrm>
          <a:prstGeom prst="rect">
            <a:avLst/>
          </a:prstGeom>
        </p:spPr>
        <p:txBody>
          <a:bodyPr vert="horz" lIns="91440" tIns="45720" rIns="146304" bIns="45720" rtlCol="0" anchor="ctr"/>
          <a:lstStyle>
            <a:lvl1pPr marL="0" algn="r" defTabSz="914308" rtl="0" eaLnBrk="1" latinLnBrk="0" hangingPunct="1">
              <a:lnSpc>
                <a:spcPct val="90000"/>
              </a:lnSpc>
              <a:spcAft>
                <a:spcPts val="588"/>
              </a:spcAft>
              <a:defRPr lang="en-US" sz="1961" kern="1200" smtClean="0">
                <a:solidFill>
                  <a:schemeClr val="tx1"/>
                </a:solidFill>
                <a:latin typeface="Segoe UI Light" panose="020B0502040204020203" pitchFamily="34" charset="0"/>
                <a:ea typeface="+mn-ea"/>
                <a:cs typeface="Segoe UI Light" panose="020B0502040204020203" pitchFamily="34" charset="0"/>
              </a:defRPr>
            </a:lvl1pPr>
          </a:lstStyle>
          <a:p>
            <a:pPr>
              <a:defRPr/>
            </a:pPr>
            <a:fld id="{461BA605-C888-4326-8417-118ADDBFD3D5}" type="slidenum">
              <a:rPr lang="uk-UA" smtClean="0">
                <a:solidFill>
                  <a:srgbClr val="000000"/>
                </a:solidFill>
              </a:rPr>
              <a:pPr>
                <a:defRPr/>
              </a:pPr>
              <a:t>‹#›</a:t>
            </a:fld>
            <a:endParaRPr lang="uk-UA">
              <a:solidFill>
                <a:srgbClr val="000000"/>
              </a:solidFill>
            </a:endParaRPr>
          </a:p>
        </p:txBody>
      </p:sp>
    </p:spTree>
    <p:extLst>
      <p:ext uri="{BB962C8B-B14F-4D97-AF65-F5344CB8AC3E}">
        <p14:creationId xmlns:p14="http://schemas.microsoft.com/office/powerpoint/2010/main" val="2234570209"/>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2" y="457201"/>
            <a:ext cx="5508419" cy="372411"/>
          </a:xfrm>
        </p:spPr>
        <p:txBody>
          <a:bodyPr tIns="64008"/>
          <a:lstStyle>
            <a:lvl1pPr>
              <a:defRPr sz="2000" spc="0">
                <a:latin typeface="Segoe UI Semibold" panose="020B07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698764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Headline and Subhead with Bloom Layout">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C263714B-EB42-4F72-858F-2875832C628E}"/>
              </a:ext>
            </a:extLst>
          </p:cNvPr>
          <p:cNvPicPr>
            <a:picLocks noChangeAspect="1"/>
          </p:cNvPicPr>
          <p:nvPr userDrawn="1"/>
        </p:nvPicPr>
        <p:blipFill rotWithShape="1">
          <a:blip r:embed="rId2" cstate="print">
            <a:alphaModFix amt="42000"/>
            <a:extLst>
              <a:ext uri="{28A0092B-C50C-407E-A947-70E740481C1C}">
                <a14:useLocalDpi xmlns:a14="http://schemas.microsoft.com/office/drawing/2010/main" val="0"/>
              </a:ext>
            </a:extLst>
          </a:blip>
          <a:srcRect/>
          <a:stretch/>
        </p:blipFill>
        <p:spPr>
          <a:xfrm>
            <a:off x="0" y="0"/>
            <a:ext cx="12191999" cy="6858000"/>
          </a:xfrm>
          <a:prstGeom prst="rect">
            <a:avLst/>
          </a:prstGeom>
        </p:spPr>
      </p:pic>
      <p:pic>
        <p:nvPicPr>
          <p:cNvPr id="5" name="Picture 4" descr="Background pattern&#10;&#10;Description automatically generated">
            <a:extLst>
              <a:ext uri="{FF2B5EF4-FFF2-40B4-BE49-F238E27FC236}">
                <a16:creationId xmlns:a16="http://schemas.microsoft.com/office/drawing/2014/main" id="{A229841C-7B37-4F5D-A4C4-96D6C61A579F}"/>
              </a:ext>
            </a:extLst>
          </p:cNvPr>
          <p:cNvPicPr>
            <a:picLocks noChangeAspect="1"/>
          </p:cNvPicPr>
          <p:nvPr userDrawn="1"/>
        </p:nvPicPr>
        <p:blipFill rotWithShape="1">
          <a:blip r:embed="rId3" cstate="screen">
            <a:alphaModFix amt="50000"/>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rcRect/>
          <a:stretch/>
        </p:blipFill>
        <p:spPr>
          <a:xfrm>
            <a:off x="0" y="1"/>
            <a:ext cx="12192000" cy="6857999"/>
          </a:xfrm>
          <a:prstGeom prst="rect">
            <a:avLst/>
          </a:prstGeom>
        </p:spPr>
      </p:pic>
      <p:pic>
        <p:nvPicPr>
          <p:cNvPr id="2" name="Picture 1" descr="Background pattern&#10;&#10;Description automatically generated">
            <a:extLst>
              <a:ext uri="{FF2B5EF4-FFF2-40B4-BE49-F238E27FC236}">
                <a16:creationId xmlns:a16="http://schemas.microsoft.com/office/drawing/2014/main" id="{221715E8-85D9-78A1-D4E0-A586E233BA1B}"/>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3" name="Picture 2" descr="Background pattern&#10;&#10;Description automatically generated">
            <a:extLst>
              <a:ext uri="{FF2B5EF4-FFF2-40B4-BE49-F238E27FC236}">
                <a16:creationId xmlns:a16="http://schemas.microsoft.com/office/drawing/2014/main" id="{92F0E093-17E6-2FB7-9B88-E87AF1E816E8}"/>
              </a:ext>
            </a:extLst>
          </p:cNvPr>
          <p:cNvPicPr>
            <a:picLocks noChangeAspect="1"/>
          </p:cNvPicPr>
          <p:nvPr userDrawn="1"/>
        </p:nvPicPr>
        <p:blipFill rotWithShape="1">
          <a:blip r:embed="rId3" cstate="screen">
            <a:alphaModFix amt="76000"/>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rcRect/>
          <a:stretch/>
        </p:blipFill>
        <p:spPr>
          <a:xfrm rot="16200000">
            <a:off x="2667001" y="-2667005"/>
            <a:ext cx="6857999" cy="12192000"/>
          </a:xfrm>
          <a:prstGeom prst="rect">
            <a:avLst/>
          </a:prstGeom>
          <a:effectLst>
            <a:outerShdw blurRad="50800" dist="50800" dir="5400000" algn="ctr" rotWithShape="0">
              <a:srgbClr val="000000">
                <a:alpha val="0"/>
              </a:srgbClr>
            </a:outerShdw>
          </a:effectLst>
        </p:spPr>
      </p:pic>
      <p:sp>
        <p:nvSpPr>
          <p:cNvPr id="6" name="Title 6">
            <a:extLst>
              <a:ext uri="{FF2B5EF4-FFF2-40B4-BE49-F238E27FC236}">
                <a16:creationId xmlns:a16="http://schemas.microsoft.com/office/drawing/2014/main" id="{A559D1D1-4F74-44AC-A242-26E26CCF0C91}"/>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
        <p:nvSpPr>
          <p:cNvPr id="11" name="Text Placeholder 3">
            <a:extLst>
              <a:ext uri="{FF2B5EF4-FFF2-40B4-BE49-F238E27FC236}">
                <a16:creationId xmlns:a16="http://schemas.microsoft.com/office/drawing/2014/main" id="{302FDE02-F1C4-4D33-838D-495D255D3991}"/>
              </a:ext>
            </a:extLst>
          </p:cNvPr>
          <p:cNvSpPr>
            <a:spLocks noGrp="1"/>
          </p:cNvSpPr>
          <p:nvPr>
            <p:ph type="body" sz="quarter" idx="10"/>
          </p:nvPr>
        </p:nvSpPr>
        <p:spPr>
          <a:xfrm>
            <a:off x="586390" y="1116871"/>
            <a:ext cx="11018520" cy="246221"/>
          </a:xfrm>
          <a:prstGeom prst="rect">
            <a:avLst/>
          </a:prstGeom>
        </p:spPr>
        <p:txBody>
          <a:bodyPr wrap="square" lIns="0" tIns="0" rIns="0" bIns="0">
            <a:spAutoFit/>
          </a:bodyPr>
          <a:lstStyle>
            <a:lvl1pPr marL="0" indent="0">
              <a:buNone/>
              <a:defRPr>
                <a:solidFill>
                  <a:schemeClr val="bg1"/>
                </a:solidFill>
                <a:latin typeface="+mj-lt"/>
              </a:defRPr>
            </a:lvl1pPr>
            <a:lvl2pPr marL="228591" indent="0">
              <a:buNone/>
              <a:defRPr>
                <a:solidFill>
                  <a:schemeClr val="bg1"/>
                </a:solidFill>
              </a:defRPr>
            </a:lvl2pPr>
            <a:lvl3pPr marL="457182" indent="0">
              <a:buNone/>
              <a:defRPr>
                <a:solidFill>
                  <a:schemeClr val="bg1"/>
                </a:solidFill>
              </a:defRPr>
            </a:lvl3pPr>
            <a:lvl4pPr marL="685773" indent="0">
              <a:buNone/>
              <a:defRPr>
                <a:solidFill>
                  <a:schemeClr val="bg1"/>
                </a:solidFill>
              </a:defRPr>
            </a:lvl4pPr>
            <a:lvl5pPr marL="914363"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17609863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5537A5-498F-D8D9-872E-B4E3A917BB5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B305CA9-95C4-857F-B789-99C3392C932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486CDA5-5842-2A49-0F81-496669D08B6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5DE22BF-6592-AEDD-6800-537687CBBD4E}"/>
              </a:ext>
            </a:extLst>
          </p:cNvPr>
          <p:cNvSpPr>
            <a:spLocks noGrp="1"/>
          </p:cNvSpPr>
          <p:nvPr>
            <p:ph type="dt" sz="half" idx="10"/>
          </p:nvPr>
        </p:nvSpPr>
        <p:spPr/>
        <p:txBody>
          <a:bodyPr/>
          <a:lstStyle/>
          <a:p>
            <a:fld id="{2010D01F-1BC2-4E69-9F2A-DDC2A48BBAEC}" type="datetimeFigureOut">
              <a:rPr lang="en-US" smtClean="0"/>
              <a:t>4/9/2025</a:t>
            </a:fld>
            <a:endParaRPr lang="en-US"/>
          </a:p>
        </p:txBody>
      </p:sp>
      <p:sp>
        <p:nvSpPr>
          <p:cNvPr id="6" name="Footer Placeholder 5">
            <a:extLst>
              <a:ext uri="{FF2B5EF4-FFF2-40B4-BE49-F238E27FC236}">
                <a16:creationId xmlns:a16="http://schemas.microsoft.com/office/drawing/2014/main" id="{D011D715-2E5D-1984-F7B4-657E5100096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B5E43BD-FA06-1A9F-17EA-4E3141B368BA}"/>
              </a:ext>
            </a:extLst>
          </p:cNvPr>
          <p:cNvSpPr>
            <a:spLocks noGrp="1"/>
          </p:cNvSpPr>
          <p:nvPr>
            <p:ph type="sldNum" sz="quarter" idx="12"/>
          </p:nvPr>
        </p:nvSpPr>
        <p:spPr/>
        <p:txBody>
          <a:bodyPr/>
          <a:lstStyle/>
          <a:p>
            <a:fld id="{90623A98-DEB9-4ABD-BEA8-088375254FC1}" type="slidenum">
              <a:rPr lang="en-US" smtClean="0"/>
              <a:t>‹#›</a:t>
            </a:fld>
            <a:endParaRPr lang="en-US"/>
          </a:p>
        </p:txBody>
      </p:sp>
    </p:spTree>
    <p:extLst>
      <p:ext uri="{BB962C8B-B14F-4D97-AF65-F5344CB8AC3E}">
        <p14:creationId xmlns:p14="http://schemas.microsoft.com/office/powerpoint/2010/main" val="11259701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87E67-C741-2139-9B2F-9FF43F58524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BB9C491-B0E5-817D-16ED-2D7D2661962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EB51C9A-73AA-3BD4-EE3F-D6059EE4863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F6BE3AC-AF70-5279-408F-049814A81D45}"/>
              </a:ext>
            </a:extLst>
          </p:cNvPr>
          <p:cNvSpPr>
            <a:spLocks noGrp="1"/>
          </p:cNvSpPr>
          <p:nvPr>
            <p:ph type="dt" sz="half" idx="10"/>
          </p:nvPr>
        </p:nvSpPr>
        <p:spPr/>
        <p:txBody>
          <a:bodyPr/>
          <a:lstStyle/>
          <a:p>
            <a:fld id="{2010D01F-1BC2-4E69-9F2A-DDC2A48BBAEC}" type="datetimeFigureOut">
              <a:rPr lang="en-US" smtClean="0"/>
              <a:t>4/9/2025</a:t>
            </a:fld>
            <a:endParaRPr lang="en-US"/>
          </a:p>
        </p:txBody>
      </p:sp>
      <p:sp>
        <p:nvSpPr>
          <p:cNvPr id="6" name="Footer Placeholder 5">
            <a:extLst>
              <a:ext uri="{FF2B5EF4-FFF2-40B4-BE49-F238E27FC236}">
                <a16:creationId xmlns:a16="http://schemas.microsoft.com/office/drawing/2014/main" id="{EDEDEE58-4865-5150-CA6B-D730686E66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72214C6-8C5A-76A0-CCD5-23702ECC7B56}"/>
              </a:ext>
            </a:extLst>
          </p:cNvPr>
          <p:cNvSpPr>
            <a:spLocks noGrp="1"/>
          </p:cNvSpPr>
          <p:nvPr>
            <p:ph type="sldNum" sz="quarter" idx="12"/>
          </p:nvPr>
        </p:nvSpPr>
        <p:spPr/>
        <p:txBody>
          <a:bodyPr/>
          <a:lstStyle/>
          <a:p>
            <a:fld id="{90623A98-DEB9-4ABD-BEA8-088375254FC1}" type="slidenum">
              <a:rPr lang="en-US" smtClean="0"/>
              <a:t>‹#›</a:t>
            </a:fld>
            <a:endParaRPr lang="en-US"/>
          </a:p>
        </p:txBody>
      </p:sp>
    </p:spTree>
    <p:extLst>
      <p:ext uri="{BB962C8B-B14F-4D97-AF65-F5344CB8AC3E}">
        <p14:creationId xmlns:p14="http://schemas.microsoft.com/office/powerpoint/2010/main" val="375252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8.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slideLayout" Target="../slideLayouts/slideLayout54.xml"/><Relationship Id="rId47" Type="http://schemas.openxmlformats.org/officeDocument/2006/relationships/slideLayout" Target="../slideLayouts/slideLayout59.xml"/><Relationship Id="rId50" Type="http://schemas.openxmlformats.org/officeDocument/2006/relationships/slideLayout" Target="../slideLayouts/slideLayout62.xml"/><Relationship Id="rId55" Type="http://schemas.openxmlformats.org/officeDocument/2006/relationships/slideLayout" Target="../slideLayouts/slideLayout67.xml"/><Relationship Id="rId63" Type="http://schemas.openxmlformats.org/officeDocument/2006/relationships/slideLayout" Target="../slideLayouts/slideLayout7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9" Type="http://schemas.openxmlformats.org/officeDocument/2006/relationships/slideLayout" Target="../slideLayouts/slideLayout41.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45" Type="http://schemas.openxmlformats.org/officeDocument/2006/relationships/slideLayout" Target="../slideLayouts/slideLayout57.xml"/><Relationship Id="rId53" Type="http://schemas.openxmlformats.org/officeDocument/2006/relationships/slideLayout" Target="../slideLayouts/slideLayout65.xml"/><Relationship Id="rId58" Type="http://schemas.openxmlformats.org/officeDocument/2006/relationships/slideLayout" Target="../slideLayouts/slideLayout70.xml"/><Relationship Id="rId66" Type="http://schemas.openxmlformats.org/officeDocument/2006/relationships/oleObject" Target="../embeddings/oleObject2.bin"/><Relationship Id="rId5" Type="http://schemas.openxmlformats.org/officeDocument/2006/relationships/slideLayout" Target="../slideLayouts/slideLayout17.xml"/><Relationship Id="rId61" Type="http://schemas.openxmlformats.org/officeDocument/2006/relationships/slideLayout" Target="../slideLayouts/slideLayout73.xml"/><Relationship Id="rId19" Type="http://schemas.openxmlformats.org/officeDocument/2006/relationships/slideLayout" Target="../slideLayouts/slideLayout3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slideLayout" Target="../slideLayouts/slideLayout55.xml"/><Relationship Id="rId48" Type="http://schemas.openxmlformats.org/officeDocument/2006/relationships/slideLayout" Target="../slideLayouts/slideLayout60.xml"/><Relationship Id="rId56" Type="http://schemas.openxmlformats.org/officeDocument/2006/relationships/slideLayout" Target="../slideLayouts/slideLayout68.xml"/><Relationship Id="rId64" Type="http://schemas.openxmlformats.org/officeDocument/2006/relationships/theme" Target="../theme/theme2.xml"/><Relationship Id="rId8" Type="http://schemas.openxmlformats.org/officeDocument/2006/relationships/slideLayout" Target="../slideLayouts/slideLayout20.xml"/><Relationship Id="rId51" Type="http://schemas.openxmlformats.org/officeDocument/2006/relationships/slideLayout" Target="../slideLayouts/slideLayout63.xml"/><Relationship Id="rId3" Type="http://schemas.openxmlformats.org/officeDocument/2006/relationships/slideLayout" Target="../slideLayouts/slideLayout15.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46" Type="http://schemas.openxmlformats.org/officeDocument/2006/relationships/slideLayout" Target="../slideLayouts/slideLayout58.xml"/><Relationship Id="rId59" Type="http://schemas.openxmlformats.org/officeDocument/2006/relationships/slideLayout" Target="../slideLayouts/slideLayout71.xml"/><Relationship Id="rId67" Type="http://schemas.openxmlformats.org/officeDocument/2006/relationships/image" Target="../media/image2.emf"/><Relationship Id="rId20" Type="http://schemas.openxmlformats.org/officeDocument/2006/relationships/slideLayout" Target="../slideLayouts/slideLayout32.xml"/><Relationship Id="rId41" Type="http://schemas.openxmlformats.org/officeDocument/2006/relationships/slideLayout" Target="../slideLayouts/slideLayout53.xml"/><Relationship Id="rId54" Type="http://schemas.openxmlformats.org/officeDocument/2006/relationships/slideLayout" Target="../slideLayouts/slideLayout66.xml"/><Relationship Id="rId62" Type="http://schemas.openxmlformats.org/officeDocument/2006/relationships/slideLayout" Target="../slideLayouts/slideLayout7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49" Type="http://schemas.openxmlformats.org/officeDocument/2006/relationships/slideLayout" Target="../slideLayouts/slideLayout61.xml"/><Relationship Id="rId57" Type="http://schemas.openxmlformats.org/officeDocument/2006/relationships/slideLayout" Target="../slideLayouts/slideLayout69.xml"/><Relationship Id="rId10" Type="http://schemas.openxmlformats.org/officeDocument/2006/relationships/slideLayout" Target="../slideLayouts/slideLayout22.xml"/><Relationship Id="rId31" Type="http://schemas.openxmlformats.org/officeDocument/2006/relationships/slideLayout" Target="../slideLayouts/slideLayout43.xml"/><Relationship Id="rId44" Type="http://schemas.openxmlformats.org/officeDocument/2006/relationships/slideLayout" Target="../slideLayouts/slideLayout56.xml"/><Relationship Id="rId52" Type="http://schemas.openxmlformats.org/officeDocument/2006/relationships/slideLayout" Target="../slideLayouts/slideLayout64.xml"/><Relationship Id="rId60" Type="http://schemas.openxmlformats.org/officeDocument/2006/relationships/slideLayout" Target="../slideLayouts/slideLayout72.xml"/><Relationship Id="rId65" Type="http://schemas.openxmlformats.org/officeDocument/2006/relationships/tags" Target="../tags/tag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9"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EB4D973-1568-C53F-FBA6-F33D9F70652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E047C96-0DA2-1882-08C0-23A8EA70EB8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83C40F-9ACE-E22E-CC6A-CC5876520BC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010D01F-1BC2-4E69-9F2A-DDC2A48BBAEC}" type="datetimeFigureOut">
              <a:rPr lang="en-US" smtClean="0"/>
              <a:t>4/9/2025</a:t>
            </a:fld>
            <a:endParaRPr lang="en-US"/>
          </a:p>
        </p:txBody>
      </p:sp>
      <p:sp>
        <p:nvSpPr>
          <p:cNvPr id="5" name="Footer Placeholder 4">
            <a:extLst>
              <a:ext uri="{FF2B5EF4-FFF2-40B4-BE49-F238E27FC236}">
                <a16:creationId xmlns:a16="http://schemas.microsoft.com/office/drawing/2014/main" id="{CAAFC070-99BB-D411-E5FC-616A108185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CDC7A024-952B-A410-9F95-BAA4A4F8ADC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90623A98-DEB9-4ABD-BEA8-088375254FC1}" type="slidenum">
              <a:rPr lang="en-US" smtClean="0"/>
              <a:t>‹#›</a:t>
            </a:fld>
            <a:endParaRPr lang="en-US"/>
          </a:p>
        </p:txBody>
      </p:sp>
    </p:spTree>
    <p:extLst>
      <p:ext uri="{BB962C8B-B14F-4D97-AF65-F5344CB8AC3E}">
        <p14:creationId xmlns:p14="http://schemas.microsoft.com/office/powerpoint/2010/main" val="285334087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051225"/>
            </a:gs>
            <a:gs pos="100000">
              <a:srgbClr val="0B1E3F"/>
            </a:gs>
          </a:gsLst>
          <a:lin ang="1800000" scaled="0"/>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2847A2D-0751-8BB6-752F-CC85BF75705A}"/>
              </a:ext>
            </a:extLst>
          </p:cNvPr>
          <p:cNvGraphicFramePr>
            <a:graphicFrameLocks noChangeAspect="1"/>
          </p:cNvGraphicFramePr>
          <p:nvPr userDrawn="1">
            <p:custDataLst>
              <p:tags r:id="rId65"/>
            </p:custDataLst>
            <p:extLst>
              <p:ext uri="{D42A27DB-BD31-4B8C-83A1-F6EECF244321}">
                <p14:modId xmlns:p14="http://schemas.microsoft.com/office/powerpoint/2010/main" val="419726628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66" imgW="425" imgH="424" progId="TCLayout.ActiveDocument.1">
                  <p:embed/>
                </p:oleObj>
              </mc:Choice>
              <mc:Fallback>
                <p:oleObj name="think-cell Slide" r:id="rId66" imgW="425" imgH="424" progId="TCLayout.ActiveDocument.1">
                  <p:embed/>
                  <p:pic>
                    <p:nvPicPr>
                      <p:cNvPr id="2" name="think-cell data - do not delete" hidden="1">
                        <a:extLst>
                          <a:ext uri="{FF2B5EF4-FFF2-40B4-BE49-F238E27FC236}">
                            <a16:creationId xmlns:a16="http://schemas.microsoft.com/office/drawing/2014/main" id="{D2847A2D-0751-8BB6-752F-CC85BF75705A}"/>
                          </a:ext>
                        </a:extLst>
                      </p:cNvPr>
                      <p:cNvPicPr/>
                      <p:nvPr/>
                    </p:nvPicPr>
                    <p:blipFill>
                      <a:blip r:embed="rId67"/>
                      <a:stretch>
                        <a:fillRect/>
                      </a:stretch>
                    </p:blipFill>
                    <p:spPr>
                      <a:xfrm>
                        <a:off x="1589" y="1589"/>
                        <a:ext cx="1588" cy="1588"/>
                      </a:xfrm>
                      <a:prstGeom prst="rect">
                        <a:avLst/>
                      </a:prstGeom>
                    </p:spPr>
                  </p:pic>
                </p:oleObj>
              </mc:Fallback>
            </mc:AlternateContent>
          </a:graphicData>
        </a:graphic>
      </p:graphicFrame>
      <p:grpSp>
        <p:nvGrpSpPr>
          <p:cNvPr id="47" name="GRID" hidden="1">
            <a:extLst>
              <a:ext uri="{FF2B5EF4-FFF2-40B4-BE49-F238E27FC236}">
                <a16:creationId xmlns:a16="http://schemas.microsoft.com/office/drawing/2014/main" id="{32B5FFBF-552A-4973-B5B3-9EE3A765185F}"/>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 uri="{C183D7F6-B498-43B3-948B-1728B52AA6E4}">
                <adec:decorative xmlns:adec="http://schemas.microsoft.com/office/drawing/2017/decorative" val="1"/>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3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 uri="{C183D7F6-B498-43B3-948B-1728B52AA6E4}">
                <adec:decorative xmlns:adec="http://schemas.microsoft.com/office/drawing/2017/decorative" val="1"/>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3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5492695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Lst>
  <p:transition>
    <p:fade/>
  </p:transition>
  <p:hf hdr="0" dt="0"/>
  <p:txStyles>
    <p:titleStyle>
      <a:lvl1pPr algn="l" defTabSz="932606" rtl="0" eaLnBrk="1" latinLnBrk="0" hangingPunct="1">
        <a:lnSpc>
          <a:spcPct val="110000"/>
        </a:lnSpc>
        <a:spcBef>
          <a:spcPct val="0"/>
        </a:spcBef>
        <a:spcAft>
          <a:spcPts val="1000"/>
        </a:spcAft>
        <a:buNone/>
        <a:defRPr lang="en-US" sz="1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606" rtl="0" eaLnBrk="1" fontAlgn="auto" latinLnBrk="0" hangingPunct="1">
        <a:lnSpc>
          <a:spcPct val="100000"/>
        </a:lnSpc>
        <a:spcBef>
          <a:spcPts val="0"/>
        </a:spcBef>
        <a:spcAft>
          <a:spcPts val="10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568" marR="0" indent="0" algn="l" defTabSz="932606" rtl="0" eaLnBrk="1" fontAlgn="auto" latinLnBrk="0" hangingPunct="1">
        <a:lnSpc>
          <a:spcPct val="100000"/>
        </a:lnSpc>
        <a:spcBef>
          <a:spcPts val="0"/>
        </a:spcBef>
        <a:spcAft>
          <a:spcPts val="1000"/>
        </a:spcAft>
        <a:buClrTx/>
        <a:buSzPct val="90000"/>
        <a:buFont typeface="Wingdings" panose="05000000000000000000" pitchFamily="2" charset="2"/>
        <a:buNone/>
        <a:tabLst/>
        <a:defRPr sz="1333" kern="1200" spc="0" baseline="0">
          <a:gradFill>
            <a:gsLst>
              <a:gs pos="1250">
                <a:schemeClr val="tx1"/>
              </a:gs>
              <a:gs pos="100000">
                <a:schemeClr val="tx1"/>
              </a:gs>
            </a:gsLst>
            <a:lin ang="5400000" scaled="0"/>
          </a:gradFill>
          <a:latin typeface="+mn-lt"/>
          <a:ea typeface="+mn-ea"/>
          <a:cs typeface="+mn-cs"/>
        </a:defRPr>
      </a:lvl2pPr>
      <a:lvl3pPr marL="457133" marR="0" indent="0" algn="l" defTabSz="932606" rtl="0" eaLnBrk="1" fontAlgn="auto" latinLnBrk="0" hangingPunct="1">
        <a:lnSpc>
          <a:spcPct val="100000"/>
        </a:lnSpc>
        <a:spcBef>
          <a:spcPts val="0"/>
        </a:spcBef>
        <a:spcAft>
          <a:spcPts val="1000"/>
        </a:spcAft>
        <a:buClrTx/>
        <a:buSzPct val="90000"/>
        <a:buFont typeface="Wingdings" panose="05000000000000000000" pitchFamily="2" charset="2"/>
        <a:buNone/>
        <a:tabLst/>
        <a:defRPr sz="1167" kern="1200" spc="0" baseline="0">
          <a:gradFill>
            <a:gsLst>
              <a:gs pos="1250">
                <a:schemeClr val="tx1"/>
              </a:gs>
              <a:gs pos="100000">
                <a:schemeClr val="tx1"/>
              </a:gs>
            </a:gsLst>
            <a:lin ang="5400000" scaled="0"/>
          </a:gradFill>
          <a:latin typeface="+mn-lt"/>
          <a:ea typeface="+mn-ea"/>
          <a:cs typeface="+mn-cs"/>
        </a:defRPr>
      </a:lvl3pPr>
      <a:lvl4pPr marL="842841" marR="0" indent="-180949" algn="l" defTabSz="93260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789" marR="0" indent="-168252" algn="l" defTabSz="93260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4668" indent="-233152" algn="l" defTabSz="93260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73" indent="-233152" algn="l" defTabSz="93260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75" indent="-233152" algn="l" defTabSz="93260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80" indent="-233152" algn="l" defTabSz="93260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06" rtl="0" eaLnBrk="1" latinLnBrk="0" hangingPunct="1">
        <a:defRPr sz="1800" kern="1200">
          <a:solidFill>
            <a:schemeClr val="tx1"/>
          </a:solidFill>
          <a:latin typeface="+mn-lt"/>
          <a:ea typeface="+mn-ea"/>
          <a:cs typeface="+mn-cs"/>
        </a:defRPr>
      </a:lvl1pPr>
      <a:lvl2pPr marL="466303" algn="l" defTabSz="932606" rtl="0" eaLnBrk="1" latinLnBrk="0" hangingPunct="1">
        <a:defRPr sz="1800" kern="1200">
          <a:solidFill>
            <a:schemeClr val="tx1"/>
          </a:solidFill>
          <a:latin typeface="+mn-lt"/>
          <a:ea typeface="+mn-ea"/>
          <a:cs typeface="+mn-cs"/>
        </a:defRPr>
      </a:lvl2pPr>
      <a:lvl3pPr marL="932606" algn="l" defTabSz="932606" rtl="0" eaLnBrk="1" latinLnBrk="0" hangingPunct="1">
        <a:defRPr sz="1800" kern="1200">
          <a:solidFill>
            <a:schemeClr val="tx1"/>
          </a:solidFill>
          <a:latin typeface="+mn-lt"/>
          <a:ea typeface="+mn-ea"/>
          <a:cs typeface="+mn-cs"/>
        </a:defRPr>
      </a:lvl3pPr>
      <a:lvl4pPr marL="1398910" algn="l" defTabSz="932606" rtl="0" eaLnBrk="1" latinLnBrk="0" hangingPunct="1">
        <a:defRPr sz="1800" kern="1200">
          <a:solidFill>
            <a:schemeClr val="tx1"/>
          </a:solidFill>
          <a:latin typeface="+mn-lt"/>
          <a:ea typeface="+mn-ea"/>
          <a:cs typeface="+mn-cs"/>
        </a:defRPr>
      </a:lvl4pPr>
      <a:lvl5pPr marL="1865214" algn="l" defTabSz="932606" rtl="0" eaLnBrk="1" latinLnBrk="0" hangingPunct="1">
        <a:defRPr sz="1800" kern="1200">
          <a:solidFill>
            <a:schemeClr val="tx1"/>
          </a:solidFill>
          <a:latin typeface="+mn-lt"/>
          <a:ea typeface="+mn-ea"/>
          <a:cs typeface="+mn-cs"/>
        </a:defRPr>
      </a:lvl5pPr>
      <a:lvl6pPr marL="2331518" algn="l" defTabSz="932606" rtl="0" eaLnBrk="1" latinLnBrk="0" hangingPunct="1">
        <a:defRPr sz="1800" kern="1200">
          <a:solidFill>
            <a:schemeClr val="tx1"/>
          </a:solidFill>
          <a:latin typeface="+mn-lt"/>
          <a:ea typeface="+mn-ea"/>
          <a:cs typeface="+mn-cs"/>
        </a:defRPr>
      </a:lvl6pPr>
      <a:lvl7pPr marL="2797821" algn="l" defTabSz="932606" rtl="0" eaLnBrk="1" latinLnBrk="0" hangingPunct="1">
        <a:defRPr sz="1800" kern="1200">
          <a:solidFill>
            <a:schemeClr val="tx1"/>
          </a:solidFill>
          <a:latin typeface="+mn-lt"/>
          <a:ea typeface="+mn-ea"/>
          <a:cs typeface="+mn-cs"/>
        </a:defRPr>
      </a:lvl7pPr>
      <a:lvl8pPr marL="3264123" algn="l" defTabSz="932606" rtl="0" eaLnBrk="1" latinLnBrk="0" hangingPunct="1">
        <a:defRPr sz="1800" kern="1200">
          <a:solidFill>
            <a:schemeClr val="tx1"/>
          </a:solidFill>
          <a:latin typeface="+mn-lt"/>
          <a:ea typeface="+mn-ea"/>
          <a:cs typeface="+mn-cs"/>
        </a:defRPr>
      </a:lvl8pPr>
      <a:lvl9pPr marL="3730427" algn="l" defTabSz="93260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2" orient="horz" pos="432">
          <p15:clr>
            <a:srgbClr val="C35EA4"/>
          </p15:clr>
        </p15:guide>
        <p15:guide id="34" orient="horz" pos="2160">
          <p15:clr>
            <a:srgbClr val="5ACBF0"/>
          </p15:clr>
        </p15:guide>
        <p15:guide id="44" orient="horz" pos="4032">
          <p15:clr>
            <a:srgbClr val="C35EA4"/>
          </p15:clr>
        </p15:guide>
        <p15:guide id="46" pos="7296">
          <p15:clr>
            <a:srgbClr val="C35EA4"/>
          </p15:clr>
        </p15:guide>
        <p15:guide id="47" pos="3847">
          <p15:clr>
            <a:srgbClr val="A4A3A4"/>
          </p15:clr>
        </p15:guide>
        <p15:guide id="48" pos="3140">
          <p15:clr>
            <a:srgbClr val="A4A3A4"/>
          </p15:clr>
        </p15:guide>
        <p15:guide id="49" pos="2436">
          <p15:clr>
            <a:srgbClr val="5ACBF0"/>
          </p15:clr>
        </p15:guide>
        <p15:guide id="50" pos="1732">
          <p15:clr>
            <a:srgbClr val="A4A3A4"/>
          </p15:clr>
        </p15:guide>
        <p15:guide id="51" pos="1024">
          <p15:clr>
            <a:srgbClr val="A4A3A4"/>
          </p15:clr>
        </p15:guide>
        <p15:guide id="52" pos="1138">
          <p15:clr>
            <a:srgbClr val="A4A3A4"/>
          </p15:clr>
        </p15:guide>
        <p15:guide id="53" pos="1845">
          <p15:clr>
            <a:srgbClr val="A4A3A4"/>
          </p15:clr>
        </p15:guide>
        <p15:guide id="54" pos="2549">
          <p15:clr>
            <a:srgbClr val="5ACBF0"/>
          </p15:clr>
        </p15:guide>
        <p15:guide id="55" pos="3257">
          <p15:clr>
            <a:srgbClr val="A4A3A4"/>
          </p15:clr>
        </p15:guide>
        <p15:guide id="56" pos="3961">
          <p15:clr>
            <a:srgbClr val="A4A3A4"/>
          </p15:clr>
        </p15:guide>
        <p15:guide id="57" pos="4551">
          <p15:clr>
            <a:srgbClr val="5ACBF0"/>
          </p15:clr>
        </p15:guide>
        <p15:guide id="58" pos="4668">
          <p15:clr>
            <a:srgbClr val="5ACBF0"/>
          </p15:clr>
        </p15:guide>
        <p15:guide id="59" pos="5259">
          <p15:clr>
            <a:srgbClr val="A4A3A4"/>
          </p15:clr>
        </p15:guide>
        <p15:guide id="60" pos="5963">
          <p15:clr>
            <a:srgbClr val="A4A3A4"/>
          </p15:clr>
        </p15:guide>
        <p15:guide id="61" pos="6670">
          <p15:clr>
            <a:srgbClr val="5ACBF0"/>
          </p15:clr>
        </p15:guide>
        <p15:guide id="65" pos="6080">
          <p15:clr>
            <a:srgbClr val="A4A3A4"/>
          </p15:clr>
        </p15:guide>
        <p15:guide id="66" pos="6784">
          <p15:clr>
            <a:srgbClr val="5ACBF0"/>
          </p15:clr>
        </p15:guide>
        <p15:guide id="67" pos="7492">
          <p15:clr>
            <a:srgbClr val="A4A3A4"/>
          </p15:clr>
        </p15:guide>
        <p15:guide id="69" pos="5372">
          <p15:clr>
            <a:srgbClr val="A4A3A4"/>
          </p15:clr>
        </p15:guide>
        <p15:guide id="71" pos="208">
          <p15:clr>
            <a:srgbClr val="A4A3A4"/>
          </p15:clr>
        </p15:guide>
        <p15:guide id="73" pos="38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hyperlink" Target="https://www.principledtechnologies.com/Microsoft/Windows-11-vs-Window-10-comparison-0223.pdf" TargetMode="External"/><Relationship Id="rId2" Type="http://schemas.openxmlformats.org/officeDocument/2006/relationships/notesSlide" Target="../notesSlides/notesSlide1.xml"/><Relationship Id="rId1" Type="http://schemas.openxmlformats.org/officeDocument/2006/relationships/slideLayout" Target="../slideLayouts/slideLayout14.xml"/><Relationship Id="rId4" Type="http://schemas.openxmlformats.org/officeDocument/2006/relationships/hyperlink" Target="https://tools.totaleconomicimpact.com/go/microsoft/windows11ProDevices/index.html"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12.xml"/><Relationship Id="rId4" Type="http://schemas.openxmlformats.org/officeDocument/2006/relationships/hyperlink" Target="https://techcommunity.microsoft.com/blog/windows-itpro-blog/hotpatch-for-client-comes-to-windows-11-enterprise/4302717"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608D10E-AC16-95BC-28FC-34EA7933465F}"/>
              </a:ext>
            </a:extLst>
          </p:cNvPr>
          <p:cNvSpPr txBox="1"/>
          <p:nvPr/>
        </p:nvSpPr>
        <p:spPr>
          <a:xfrm>
            <a:off x="340414" y="2773739"/>
            <a:ext cx="4786567" cy="3693319"/>
          </a:xfrm>
          <a:prstGeom prst="rect">
            <a:avLst/>
          </a:prstGeom>
          <a:noFill/>
        </p:spPr>
        <p:txBody>
          <a:bodyPr wrap="none" rtlCol="0">
            <a:spAutoFit/>
          </a:bodyPr>
          <a:lstStyle/>
          <a:p>
            <a:r>
              <a:rPr lang="en-US" sz="3600" b="1" dirty="0"/>
              <a:t>What’s New in </a:t>
            </a:r>
          </a:p>
          <a:p>
            <a:r>
              <a:rPr lang="en-US" sz="3600" b="1" dirty="0"/>
              <a:t>Windows 11 Security?</a:t>
            </a:r>
          </a:p>
          <a:p>
            <a:endParaRPr lang="en-US" dirty="0"/>
          </a:p>
          <a:p>
            <a:endParaRPr lang="en-US" dirty="0"/>
          </a:p>
          <a:p>
            <a:endParaRPr lang="en-US" dirty="0"/>
          </a:p>
          <a:p>
            <a:endParaRPr lang="en-US" dirty="0"/>
          </a:p>
          <a:p>
            <a:endParaRPr lang="en-US" dirty="0"/>
          </a:p>
          <a:p>
            <a:endParaRPr lang="en-US" dirty="0"/>
          </a:p>
          <a:p>
            <a:endParaRPr lang="en-US" dirty="0"/>
          </a:p>
          <a:p>
            <a:r>
              <a:rPr lang="en-US" dirty="0"/>
              <a:t>Scott Edwards</a:t>
            </a:r>
          </a:p>
          <a:p>
            <a:r>
              <a:rPr lang="en-US" dirty="0"/>
              <a:t>Microsoft</a:t>
            </a:r>
          </a:p>
        </p:txBody>
      </p:sp>
      <p:pic>
        <p:nvPicPr>
          <p:cNvPr id="1026" name="Picture 2" descr="An open laptop with a blue bloom screen sitting on a desk with a chair, drawers, shelves, framed picture, and pendant light.">
            <a:extLst>
              <a:ext uri="{FF2B5EF4-FFF2-40B4-BE49-F238E27FC236}">
                <a16:creationId xmlns:a16="http://schemas.microsoft.com/office/drawing/2014/main" id="{EFB82848-0AE2-D2A6-33FA-92A0E5C8CC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0" y="0"/>
            <a:ext cx="6858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314270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1849DD07-E5EA-4830-92D6-DC4ECD6DD75A}"/>
              </a:ext>
            </a:extLst>
          </p:cNvPr>
          <p:cNvSpPr/>
          <p:nvPr/>
        </p:nvSpPr>
        <p:spPr bwMode="auto">
          <a:xfrm>
            <a:off x="457200" y="3910705"/>
            <a:ext cx="2615302" cy="929082"/>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316484"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78D4"/>
                </a:solidFill>
                <a:effectLst/>
                <a:uLnTx/>
                <a:uFillTx/>
                <a:latin typeface="Segoe UI Semibold"/>
                <a:ea typeface="+mn-ea"/>
                <a:cs typeface="+mn-cs"/>
              </a:rPr>
              <a:t>62%</a:t>
            </a:r>
            <a:endParaRPr kumimoji="0" lang="en-US" sz="2400" b="1" i="0" u="none" strike="noStrike" kern="1200" cap="none" spc="0" normalizeH="0" baseline="0" noProof="0" dirty="0">
              <a:ln>
                <a:noFill/>
              </a:ln>
              <a:solidFill>
                <a:srgbClr val="0078D4"/>
              </a:solidFill>
              <a:effectLst>
                <a:glow rad="127000">
                  <a:srgbClr val="FFFFFF"/>
                </a:glow>
              </a:effectLst>
              <a:uLnTx/>
              <a:uFillTx/>
              <a:latin typeface="Segoe UI Semibold"/>
              <a:ea typeface="+mn-ea"/>
              <a:cs typeface="+mn-cs"/>
            </a:endParaRPr>
          </a:p>
          <a:p>
            <a:pPr marL="0" marR="0" lvl="0" indent="0" algn="ctr" defTabSz="1316484"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Segoe UI"/>
                <a:ea typeface="+mn-ea"/>
                <a:cs typeface="+mn-cs"/>
              </a:rPr>
              <a:t>drop in security incidents</a:t>
            </a:r>
            <a:r>
              <a:rPr kumimoji="0" lang="en-US" sz="1050" b="0" i="0" u="none" strike="noStrike" kern="1200" cap="none" spc="0" normalizeH="0" baseline="30000" noProof="0" dirty="0">
                <a:ln>
                  <a:noFill/>
                </a:ln>
                <a:solidFill>
                  <a:srgbClr val="000000"/>
                </a:solidFill>
                <a:effectLst/>
                <a:uLnTx/>
                <a:uFillTx/>
                <a:latin typeface="Segoe UI"/>
                <a:ea typeface="+mn-ea"/>
                <a:cs typeface="+mn-cs"/>
              </a:rPr>
              <a:t>1</a:t>
            </a:r>
            <a:endParaRPr kumimoji="0" lang="en-US" sz="105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Rectangle: Rounded Corners 4">
            <a:extLst>
              <a:ext uri="{FF2B5EF4-FFF2-40B4-BE49-F238E27FC236}">
                <a16:creationId xmlns:a16="http://schemas.microsoft.com/office/drawing/2014/main" id="{AD39FB58-A421-2116-9098-E38F133DD9C0}"/>
              </a:ext>
            </a:extLst>
          </p:cNvPr>
          <p:cNvSpPr/>
          <p:nvPr/>
        </p:nvSpPr>
        <p:spPr bwMode="auto">
          <a:xfrm>
            <a:off x="3343617" y="3997897"/>
            <a:ext cx="2615302" cy="929082"/>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316484"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78D4"/>
                </a:solidFill>
                <a:effectLst/>
                <a:uLnTx/>
                <a:uFillTx/>
                <a:latin typeface="Segoe UI Semibold"/>
                <a:ea typeface="+mn-ea"/>
                <a:cs typeface="+mn-cs"/>
              </a:rPr>
              <a:t>99.7%</a:t>
            </a:r>
          </a:p>
          <a:p>
            <a:pPr marL="0" marR="0" lvl="0" indent="0" algn="ctr" defTabSz="1316484"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Segoe UI"/>
                <a:ea typeface="+mn-ea"/>
                <a:cs typeface="+mn-cs"/>
              </a:rPr>
              <a:t>application compatibility</a:t>
            </a:r>
            <a:r>
              <a:rPr kumimoji="0" lang="en-US" sz="1050" b="0" i="0" u="none" strike="noStrike" kern="1200" cap="none" spc="0" normalizeH="0" baseline="30000" noProof="0" dirty="0">
                <a:ln>
                  <a:noFill/>
                </a:ln>
                <a:solidFill>
                  <a:srgbClr val="000000"/>
                </a:solidFill>
                <a:effectLst/>
                <a:uLnTx/>
                <a:uFillTx/>
                <a:latin typeface="Segoe UI"/>
                <a:ea typeface="+mn-ea"/>
                <a:cs typeface="+mn-cs"/>
              </a:rPr>
              <a:t>2</a:t>
            </a:r>
          </a:p>
          <a:p>
            <a:pPr marL="0" marR="0" lvl="0" indent="0" algn="ctr" defTabSz="1316484"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30000" noProof="0" dirty="0">
              <a:ln>
                <a:noFill/>
              </a:ln>
              <a:solidFill>
                <a:srgbClr val="FFFFFF"/>
              </a:solidFill>
              <a:effectLst/>
              <a:uLnTx/>
              <a:uFillTx/>
              <a:latin typeface="Segoe UI"/>
              <a:ea typeface="+mn-ea"/>
              <a:cs typeface="+mn-cs"/>
            </a:endParaRPr>
          </a:p>
          <a:p>
            <a:pPr marL="0" marR="0" lvl="0" indent="0" algn="ctr" defTabSz="1316484"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78D4"/>
                </a:solidFill>
                <a:effectLst/>
                <a:uLnTx/>
                <a:uFillTx/>
                <a:latin typeface="Segoe UI Semibold"/>
                <a:ea typeface="+mn-ea"/>
                <a:cs typeface="+mn-cs"/>
              </a:rPr>
              <a:t>80% drop in IT requests</a:t>
            </a:r>
          </a:p>
        </p:txBody>
      </p:sp>
      <p:sp>
        <p:nvSpPr>
          <p:cNvPr id="6" name="Rectangle: Rounded Corners 5">
            <a:extLst>
              <a:ext uri="{FF2B5EF4-FFF2-40B4-BE49-F238E27FC236}">
                <a16:creationId xmlns:a16="http://schemas.microsoft.com/office/drawing/2014/main" id="{A2B2BBDA-F770-C86A-38FD-5EA42798A162}"/>
              </a:ext>
            </a:extLst>
          </p:cNvPr>
          <p:cNvSpPr/>
          <p:nvPr/>
        </p:nvSpPr>
        <p:spPr bwMode="auto">
          <a:xfrm>
            <a:off x="6232068" y="3910705"/>
            <a:ext cx="2615302" cy="929082"/>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316484"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78D4"/>
                </a:solidFill>
                <a:effectLst/>
                <a:uLnTx/>
                <a:uFillTx/>
                <a:latin typeface="Segoe UI Semibold"/>
                <a:ea typeface="+mn-ea"/>
                <a:cs typeface="+mn-cs"/>
              </a:rPr>
              <a:t>up to 5x faster</a:t>
            </a:r>
          </a:p>
          <a:p>
            <a:pPr marL="0" marR="0" lvl="0" indent="0" algn="ctr" defTabSz="1316484"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Segoe UI"/>
                <a:ea typeface="+mn-ea"/>
                <a:cs typeface="+mn-cs"/>
              </a:rPr>
              <a:t>accelerated workflows and </a:t>
            </a:r>
          </a:p>
          <a:p>
            <a:pPr marL="0" marR="0" lvl="0" indent="0" algn="ctr" defTabSz="1316484"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Segoe UI"/>
                <a:ea typeface="+mn-ea"/>
                <a:cs typeface="+mn-cs"/>
              </a:rPr>
              <a:t>collaboration</a:t>
            </a:r>
            <a:r>
              <a:rPr kumimoji="0" lang="en-US" sz="1050" b="0" i="0" u="none" strike="noStrike" kern="1200" cap="none" spc="0" normalizeH="0" baseline="30000" noProof="0" dirty="0">
                <a:ln>
                  <a:noFill/>
                </a:ln>
                <a:solidFill>
                  <a:srgbClr val="000000"/>
                </a:solidFill>
                <a:effectLst/>
                <a:uLnTx/>
                <a:uFillTx/>
                <a:latin typeface="Segoe UI"/>
                <a:ea typeface="+mn-ea"/>
                <a:cs typeface="+mn-cs"/>
              </a:rPr>
              <a:t>4</a:t>
            </a:r>
            <a:endParaRPr kumimoji="0" lang="en-US" sz="105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 name="Rectangle: Rounded Corners 6">
            <a:extLst>
              <a:ext uri="{FF2B5EF4-FFF2-40B4-BE49-F238E27FC236}">
                <a16:creationId xmlns:a16="http://schemas.microsoft.com/office/drawing/2014/main" id="{79AEA8B6-08CD-18F4-D0B3-529025431041}"/>
              </a:ext>
            </a:extLst>
          </p:cNvPr>
          <p:cNvSpPr/>
          <p:nvPr/>
        </p:nvSpPr>
        <p:spPr bwMode="auto">
          <a:xfrm>
            <a:off x="9079927" y="3973392"/>
            <a:ext cx="2615302" cy="929082"/>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316484"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78D4"/>
                </a:solidFill>
                <a:effectLst/>
                <a:uLnTx/>
                <a:uFillTx/>
                <a:latin typeface="Segoe UI Semibold"/>
                <a:ea typeface="+mn-ea"/>
                <a:cs typeface="+mn-cs"/>
              </a:rPr>
              <a:t>70%</a:t>
            </a:r>
          </a:p>
          <a:p>
            <a:pPr marL="0" marR="0" lvl="0" indent="0" algn="ctr" defTabSz="1316484"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Segoe UI"/>
                <a:ea typeface="+mn-ea"/>
                <a:cs typeface="+mn-cs"/>
              </a:rPr>
              <a:t>Of employees would use A.I. to lighten workload</a:t>
            </a:r>
          </a:p>
        </p:txBody>
      </p:sp>
      <p:sp>
        <p:nvSpPr>
          <p:cNvPr id="8" name="TextBox 7">
            <a:extLst>
              <a:ext uri="{FF2B5EF4-FFF2-40B4-BE49-F238E27FC236}">
                <a16:creationId xmlns:a16="http://schemas.microsoft.com/office/drawing/2014/main" id="{58DE7117-4DB9-E289-053B-CB08A4F53E08}"/>
              </a:ext>
            </a:extLst>
          </p:cNvPr>
          <p:cNvSpPr txBox="1"/>
          <p:nvPr/>
        </p:nvSpPr>
        <p:spPr>
          <a:xfrm>
            <a:off x="457200" y="4906553"/>
            <a:ext cx="11275577" cy="851297"/>
          </a:xfrm>
          <a:prstGeom prst="roundRect">
            <a:avLst/>
          </a:prstGeom>
          <a:noFill/>
          <a:effectLst/>
        </p:spPr>
        <p:txBody>
          <a:bodyPr wrap="square" lIns="0" tIns="0" rIns="0" bIns="0">
            <a:spAutoFit/>
          </a:bodyPr>
          <a:lstStyle/>
          <a:p>
            <a:pPr marL="0" marR="0" lvl="0" indent="0" algn="ctr" defTabSz="1316484"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0078D4"/>
                </a:solidFill>
                <a:effectLst/>
                <a:uLnTx/>
                <a:uFillTx/>
                <a:latin typeface="Segoe UI Semibold"/>
                <a:ea typeface="+mn-ea"/>
                <a:cs typeface="+mn-cs"/>
              </a:rPr>
              <a:t>250%</a:t>
            </a:r>
            <a:r>
              <a:rPr kumimoji="0" lang="en-US" sz="3600" b="1" i="0" u="none" strike="noStrike" kern="1200" cap="none" spc="0" normalizeH="0" baseline="0" noProof="0" dirty="0">
                <a:ln>
                  <a:noFill/>
                </a:ln>
                <a:solidFill>
                  <a:srgbClr val="99EBFF"/>
                </a:solidFill>
                <a:effectLst/>
                <a:uLnTx/>
                <a:uFillTx/>
                <a:latin typeface="Segoe UI Semibold"/>
                <a:ea typeface="+mn-ea"/>
                <a:cs typeface="+mn-cs"/>
              </a:rPr>
              <a:t> </a:t>
            </a:r>
          </a:p>
          <a:p>
            <a:pPr marL="0" marR="0" lvl="0" indent="0" algn="ctr" defTabSz="131648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ROI in 3 years</a:t>
            </a:r>
            <a:r>
              <a:rPr kumimoji="0" lang="en-US" sz="1400" b="0" i="0" u="none" strike="noStrike" kern="1200" cap="none" spc="0" normalizeH="0" baseline="30000" noProof="0" dirty="0">
                <a:ln>
                  <a:noFill/>
                </a:ln>
                <a:solidFill>
                  <a:srgbClr val="000000"/>
                </a:solidFill>
                <a:effectLst/>
                <a:uLnTx/>
                <a:uFillTx/>
                <a:latin typeface="Segoe UI"/>
                <a:ea typeface="+mn-ea"/>
                <a:cs typeface="+mn-cs"/>
              </a:rPr>
              <a:t>3</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 name="Graphic 117">
            <a:extLst>
              <a:ext uri="{FF2B5EF4-FFF2-40B4-BE49-F238E27FC236}">
                <a16:creationId xmlns:a16="http://schemas.microsoft.com/office/drawing/2014/main" id="{EACBDAAA-4564-0E16-49F0-F8C41ABCB87E}"/>
              </a:ext>
            </a:extLst>
          </p:cNvPr>
          <p:cNvSpPr/>
          <p:nvPr/>
        </p:nvSpPr>
        <p:spPr>
          <a:xfrm>
            <a:off x="1608275" y="1765190"/>
            <a:ext cx="311132" cy="414842"/>
          </a:xfrm>
          <a:custGeom>
            <a:avLst/>
            <a:gdLst>
              <a:gd name="connsiteX0" fmla="*/ 342900 w 342900"/>
              <a:gd name="connsiteY0" fmla="*/ 228600 h 457200"/>
              <a:gd name="connsiteX1" fmla="*/ 342900 w 342900"/>
              <a:gd name="connsiteY1" fmla="*/ 400050 h 457200"/>
              <a:gd name="connsiteX2" fmla="*/ 338435 w 342900"/>
              <a:gd name="connsiteY2" fmla="*/ 422151 h 457200"/>
              <a:gd name="connsiteX3" fmla="*/ 326157 w 342900"/>
              <a:gd name="connsiteY3" fmla="*/ 440457 h 457200"/>
              <a:gd name="connsiteX4" fmla="*/ 308074 w 342900"/>
              <a:gd name="connsiteY4" fmla="*/ 452735 h 457200"/>
              <a:gd name="connsiteX5" fmla="*/ 285750 w 342900"/>
              <a:gd name="connsiteY5" fmla="*/ 457200 h 457200"/>
              <a:gd name="connsiteX6" fmla="*/ 57150 w 342900"/>
              <a:gd name="connsiteY6" fmla="*/ 457200 h 457200"/>
              <a:gd name="connsiteX7" fmla="*/ 35049 w 342900"/>
              <a:gd name="connsiteY7" fmla="*/ 452735 h 457200"/>
              <a:gd name="connsiteX8" fmla="*/ 16743 w 342900"/>
              <a:gd name="connsiteY8" fmla="*/ 440457 h 457200"/>
              <a:gd name="connsiteX9" fmla="*/ 4465 w 342900"/>
              <a:gd name="connsiteY9" fmla="*/ 422374 h 457200"/>
              <a:gd name="connsiteX10" fmla="*/ 0 w 342900"/>
              <a:gd name="connsiteY10" fmla="*/ 400050 h 457200"/>
              <a:gd name="connsiteX11" fmla="*/ 0 w 342900"/>
              <a:gd name="connsiteY11" fmla="*/ 228600 h 457200"/>
              <a:gd name="connsiteX12" fmla="*/ 4465 w 342900"/>
              <a:gd name="connsiteY12" fmla="*/ 206499 h 457200"/>
              <a:gd name="connsiteX13" fmla="*/ 16743 w 342900"/>
              <a:gd name="connsiteY13" fmla="*/ 188193 h 457200"/>
              <a:gd name="connsiteX14" fmla="*/ 34826 w 342900"/>
              <a:gd name="connsiteY14" fmla="*/ 175915 h 457200"/>
              <a:gd name="connsiteX15" fmla="*/ 57150 w 342900"/>
              <a:gd name="connsiteY15" fmla="*/ 171450 h 457200"/>
              <a:gd name="connsiteX16" fmla="*/ 57150 w 342900"/>
              <a:gd name="connsiteY16" fmla="*/ 114300 h 457200"/>
              <a:gd name="connsiteX17" fmla="*/ 66080 w 342900"/>
              <a:gd name="connsiteY17" fmla="*/ 69875 h 457200"/>
              <a:gd name="connsiteX18" fmla="*/ 90413 w 342900"/>
              <a:gd name="connsiteY18" fmla="*/ 33486 h 457200"/>
              <a:gd name="connsiteX19" fmla="*/ 126802 w 342900"/>
              <a:gd name="connsiteY19" fmla="*/ 8930 h 457200"/>
              <a:gd name="connsiteX20" fmla="*/ 171450 w 342900"/>
              <a:gd name="connsiteY20" fmla="*/ 0 h 457200"/>
              <a:gd name="connsiteX21" fmla="*/ 215875 w 342900"/>
              <a:gd name="connsiteY21" fmla="*/ 8930 h 457200"/>
              <a:gd name="connsiteX22" fmla="*/ 252264 w 342900"/>
              <a:gd name="connsiteY22" fmla="*/ 33263 h 457200"/>
              <a:gd name="connsiteX23" fmla="*/ 276820 w 342900"/>
              <a:gd name="connsiteY23" fmla="*/ 69652 h 457200"/>
              <a:gd name="connsiteX24" fmla="*/ 285750 w 342900"/>
              <a:gd name="connsiteY24" fmla="*/ 114300 h 457200"/>
              <a:gd name="connsiteX25" fmla="*/ 285750 w 342900"/>
              <a:gd name="connsiteY25" fmla="*/ 171450 h 457200"/>
              <a:gd name="connsiteX26" fmla="*/ 307851 w 342900"/>
              <a:gd name="connsiteY26" fmla="*/ 175915 h 457200"/>
              <a:gd name="connsiteX27" fmla="*/ 326157 w 342900"/>
              <a:gd name="connsiteY27" fmla="*/ 188193 h 457200"/>
              <a:gd name="connsiteX28" fmla="*/ 338435 w 342900"/>
              <a:gd name="connsiteY28" fmla="*/ 206276 h 457200"/>
              <a:gd name="connsiteX29" fmla="*/ 342900 w 342900"/>
              <a:gd name="connsiteY29" fmla="*/ 228600 h 457200"/>
              <a:gd name="connsiteX30" fmla="*/ 85725 w 342900"/>
              <a:gd name="connsiteY30" fmla="*/ 171450 h 457200"/>
              <a:gd name="connsiteX31" fmla="*/ 257175 w 342900"/>
              <a:gd name="connsiteY31" fmla="*/ 171450 h 457200"/>
              <a:gd name="connsiteX32" fmla="*/ 257175 w 342900"/>
              <a:gd name="connsiteY32" fmla="*/ 114300 h 457200"/>
              <a:gd name="connsiteX33" fmla="*/ 250478 w 342900"/>
              <a:gd name="connsiteY33" fmla="*/ 80814 h 457200"/>
              <a:gd name="connsiteX34" fmla="*/ 232172 w 342900"/>
              <a:gd name="connsiteY34" fmla="*/ 53578 h 457200"/>
              <a:gd name="connsiteX35" fmla="*/ 204936 w 342900"/>
              <a:gd name="connsiteY35" fmla="*/ 35272 h 457200"/>
              <a:gd name="connsiteX36" fmla="*/ 171450 w 342900"/>
              <a:gd name="connsiteY36" fmla="*/ 28575 h 457200"/>
              <a:gd name="connsiteX37" fmla="*/ 137964 w 342900"/>
              <a:gd name="connsiteY37" fmla="*/ 35272 h 457200"/>
              <a:gd name="connsiteX38" fmla="*/ 110728 w 342900"/>
              <a:gd name="connsiteY38" fmla="*/ 53578 h 457200"/>
              <a:gd name="connsiteX39" fmla="*/ 92422 w 342900"/>
              <a:gd name="connsiteY39" fmla="*/ 80814 h 457200"/>
              <a:gd name="connsiteX40" fmla="*/ 85725 w 342900"/>
              <a:gd name="connsiteY40" fmla="*/ 114300 h 457200"/>
              <a:gd name="connsiteX41" fmla="*/ 85725 w 342900"/>
              <a:gd name="connsiteY41" fmla="*/ 171450 h 457200"/>
              <a:gd name="connsiteX42" fmla="*/ 314325 w 342900"/>
              <a:gd name="connsiteY42" fmla="*/ 228600 h 457200"/>
              <a:gd name="connsiteX43" fmla="*/ 312093 w 342900"/>
              <a:gd name="connsiteY43" fmla="*/ 217661 h 457200"/>
              <a:gd name="connsiteX44" fmla="*/ 306065 w 342900"/>
              <a:gd name="connsiteY44" fmla="*/ 208508 h 457200"/>
              <a:gd name="connsiteX45" fmla="*/ 296912 w 342900"/>
              <a:gd name="connsiteY45" fmla="*/ 202257 h 457200"/>
              <a:gd name="connsiteX46" fmla="*/ 285750 w 342900"/>
              <a:gd name="connsiteY46" fmla="*/ 200025 h 457200"/>
              <a:gd name="connsiteX47" fmla="*/ 57150 w 342900"/>
              <a:gd name="connsiteY47" fmla="*/ 200025 h 457200"/>
              <a:gd name="connsiteX48" fmla="*/ 45988 w 342900"/>
              <a:gd name="connsiteY48" fmla="*/ 202257 h 457200"/>
              <a:gd name="connsiteX49" fmla="*/ 37058 w 342900"/>
              <a:gd name="connsiteY49" fmla="*/ 208285 h 457200"/>
              <a:gd name="connsiteX50" fmla="*/ 30807 w 342900"/>
              <a:gd name="connsiteY50" fmla="*/ 217438 h 457200"/>
              <a:gd name="connsiteX51" fmla="*/ 28575 w 342900"/>
              <a:gd name="connsiteY51" fmla="*/ 228600 h 457200"/>
              <a:gd name="connsiteX52" fmla="*/ 28575 w 342900"/>
              <a:gd name="connsiteY52" fmla="*/ 400050 h 457200"/>
              <a:gd name="connsiteX53" fmla="*/ 30807 w 342900"/>
              <a:gd name="connsiteY53" fmla="*/ 411212 h 457200"/>
              <a:gd name="connsiteX54" fmla="*/ 36835 w 342900"/>
              <a:gd name="connsiteY54" fmla="*/ 420365 h 457200"/>
              <a:gd name="connsiteX55" fmla="*/ 45765 w 342900"/>
              <a:gd name="connsiteY55" fmla="*/ 426393 h 457200"/>
              <a:gd name="connsiteX56" fmla="*/ 57150 w 342900"/>
              <a:gd name="connsiteY56" fmla="*/ 428625 h 457200"/>
              <a:gd name="connsiteX57" fmla="*/ 285750 w 342900"/>
              <a:gd name="connsiteY57" fmla="*/ 428625 h 457200"/>
              <a:gd name="connsiteX58" fmla="*/ 296912 w 342900"/>
              <a:gd name="connsiteY58" fmla="*/ 426393 h 457200"/>
              <a:gd name="connsiteX59" fmla="*/ 305842 w 342900"/>
              <a:gd name="connsiteY59" fmla="*/ 420365 h 457200"/>
              <a:gd name="connsiteX60" fmla="*/ 312093 w 342900"/>
              <a:gd name="connsiteY60" fmla="*/ 411212 h 457200"/>
              <a:gd name="connsiteX61" fmla="*/ 314325 w 342900"/>
              <a:gd name="connsiteY61" fmla="*/ 400050 h 457200"/>
              <a:gd name="connsiteX62" fmla="*/ 314325 w 342900"/>
              <a:gd name="connsiteY62" fmla="*/ 228600 h 457200"/>
              <a:gd name="connsiteX63" fmla="*/ 200025 w 342900"/>
              <a:gd name="connsiteY63" fmla="*/ 314325 h 457200"/>
              <a:gd name="connsiteX64" fmla="*/ 197793 w 342900"/>
              <a:gd name="connsiteY64" fmla="*/ 325487 h 457200"/>
              <a:gd name="connsiteX65" fmla="*/ 191765 w 342900"/>
              <a:gd name="connsiteY65" fmla="*/ 334417 h 457200"/>
              <a:gd name="connsiteX66" fmla="*/ 182612 w 342900"/>
              <a:gd name="connsiteY66" fmla="*/ 340668 h 457200"/>
              <a:gd name="connsiteX67" fmla="*/ 171450 w 342900"/>
              <a:gd name="connsiteY67" fmla="*/ 342900 h 457200"/>
              <a:gd name="connsiteX68" fmla="*/ 160288 w 342900"/>
              <a:gd name="connsiteY68" fmla="*/ 340668 h 457200"/>
              <a:gd name="connsiteX69" fmla="*/ 151135 w 342900"/>
              <a:gd name="connsiteY69" fmla="*/ 334640 h 457200"/>
              <a:gd name="connsiteX70" fmla="*/ 145107 w 342900"/>
              <a:gd name="connsiteY70" fmla="*/ 325710 h 457200"/>
              <a:gd name="connsiteX71" fmla="*/ 142875 w 342900"/>
              <a:gd name="connsiteY71" fmla="*/ 314325 h 457200"/>
              <a:gd name="connsiteX72" fmla="*/ 145107 w 342900"/>
              <a:gd name="connsiteY72" fmla="*/ 303163 h 457200"/>
              <a:gd name="connsiteX73" fmla="*/ 151135 w 342900"/>
              <a:gd name="connsiteY73" fmla="*/ 294233 h 457200"/>
              <a:gd name="connsiteX74" fmla="*/ 160288 w 342900"/>
              <a:gd name="connsiteY74" fmla="*/ 287982 h 457200"/>
              <a:gd name="connsiteX75" fmla="*/ 171450 w 342900"/>
              <a:gd name="connsiteY75" fmla="*/ 285750 h 457200"/>
              <a:gd name="connsiteX76" fmla="*/ 182389 w 342900"/>
              <a:gd name="connsiteY76" fmla="*/ 287982 h 457200"/>
              <a:gd name="connsiteX77" fmla="*/ 191542 w 342900"/>
              <a:gd name="connsiteY77" fmla="*/ 294010 h 457200"/>
              <a:gd name="connsiteX78" fmla="*/ 197793 w 342900"/>
              <a:gd name="connsiteY78" fmla="*/ 303163 h 457200"/>
              <a:gd name="connsiteX79" fmla="*/ 200025 w 342900"/>
              <a:gd name="connsiteY79" fmla="*/ 31432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42900" h="457200">
                <a:moveTo>
                  <a:pt x="342900" y="228600"/>
                </a:moveTo>
                <a:lnTo>
                  <a:pt x="342900" y="400050"/>
                </a:lnTo>
                <a:cubicBezTo>
                  <a:pt x="342900" y="407938"/>
                  <a:pt x="341412" y="415305"/>
                  <a:pt x="338435" y="422151"/>
                </a:cubicBezTo>
                <a:cubicBezTo>
                  <a:pt x="335459" y="428997"/>
                  <a:pt x="331366" y="435099"/>
                  <a:pt x="326157" y="440457"/>
                </a:cubicBezTo>
                <a:cubicBezTo>
                  <a:pt x="320948" y="445815"/>
                  <a:pt x="314920" y="449907"/>
                  <a:pt x="308074" y="452735"/>
                </a:cubicBezTo>
                <a:cubicBezTo>
                  <a:pt x="301228" y="455563"/>
                  <a:pt x="293787" y="457051"/>
                  <a:pt x="285750" y="457200"/>
                </a:cubicBezTo>
                <a:lnTo>
                  <a:pt x="57150" y="457200"/>
                </a:lnTo>
                <a:cubicBezTo>
                  <a:pt x="49262" y="457200"/>
                  <a:pt x="41895" y="455712"/>
                  <a:pt x="35049" y="452735"/>
                </a:cubicBezTo>
                <a:cubicBezTo>
                  <a:pt x="28203" y="449759"/>
                  <a:pt x="22101" y="445666"/>
                  <a:pt x="16743" y="440457"/>
                </a:cubicBezTo>
                <a:cubicBezTo>
                  <a:pt x="11385" y="435248"/>
                  <a:pt x="7293" y="429220"/>
                  <a:pt x="4465" y="422374"/>
                </a:cubicBezTo>
                <a:cubicBezTo>
                  <a:pt x="1637" y="415528"/>
                  <a:pt x="149" y="408087"/>
                  <a:pt x="0" y="400050"/>
                </a:cubicBezTo>
                <a:lnTo>
                  <a:pt x="0" y="228600"/>
                </a:lnTo>
                <a:cubicBezTo>
                  <a:pt x="0" y="220712"/>
                  <a:pt x="1488" y="213345"/>
                  <a:pt x="4465" y="206499"/>
                </a:cubicBezTo>
                <a:cubicBezTo>
                  <a:pt x="7441" y="199653"/>
                  <a:pt x="11534" y="193551"/>
                  <a:pt x="16743" y="188193"/>
                </a:cubicBezTo>
                <a:cubicBezTo>
                  <a:pt x="21952" y="182835"/>
                  <a:pt x="27980" y="178743"/>
                  <a:pt x="34826" y="175915"/>
                </a:cubicBezTo>
                <a:cubicBezTo>
                  <a:pt x="41672" y="173087"/>
                  <a:pt x="49113" y="171599"/>
                  <a:pt x="57150" y="171450"/>
                </a:cubicBezTo>
                <a:lnTo>
                  <a:pt x="57150" y="114300"/>
                </a:lnTo>
                <a:cubicBezTo>
                  <a:pt x="57150" y="98524"/>
                  <a:pt x="60127" y="83716"/>
                  <a:pt x="66080" y="69875"/>
                </a:cubicBezTo>
                <a:cubicBezTo>
                  <a:pt x="72033" y="56034"/>
                  <a:pt x="80144" y="43904"/>
                  <a:pt x="90413" y="33486"/>
                </a:cubicBezTo>
                <a:cubicBezTo>
                  <a:pt x="100682" y="23068"/>
                  <a:pt x="112812" y="14883"/>
                  <a:pt x="126802" y="8930"/>
                </a:cubicBezTo>
                <a:cubicBezTo>
                  <a:pt x="140791" y="2977"/>
                  <a:pt x="155674" y="0"/>
                  <a:pt x="171450" y="0"/>
                </a:cubicBezTo>
                <a:cubicBezTo>
                  <a:pt x="187226" y="0"/>
                  <a:pt x="202034" y="2977"/>
                  <a:pt x="215875" y="8930"/>
                </a:cubicBezTo>
                <a:cubicBezTo>
                  <a:pt x="229716" y="14883"/>
                  <a:pt x="241846" y="22994"/>
                  <a:pt x="252264" y="33263"/>
                </a:cubicBezTo>
                <a:cubicBezTo>
                  <a:pt x="262682" y="43532"/>
                  <a:pt x="270867" y="55662"/>
                  <a:pt x="276820" y="69652"/>
                </a:cubicBezTo>
                <a:cubicBezTo>
                  <a:pt x="282773" y="83641"/>
                  <a:pt x="285750" y="98524"/>
                  <a:pt x="285750" y="114300"/>
                </a:cubicBezTo>
                <a:lnTo>
                  <a:pt x="285750" y="171450"/>
                </a:lnTo>
                <a:cubicBezTo>
                  <a:pt x="293638" y="171450"/>
                  <a:pt x="301005" y="172938"/>
                  <a:pt x="307851" y="175915"/>
                </a:cubicBezTo>
                <a:cubicBezTo>
                  <a:pt x="314697" y="178891"/>
                  <a:pt x="320799" y="182984"/>
                  <a:pt x="326157" y="188193"/>
                </a:cubicBezTo>
                <a:cubicBezTo>
                  <a:pt x="331515" y="193402"/>
                  <a:pt x="335607" y="199430"/>
                  <a:pt x="338435" y="206276"/>
                </a:cubicBezTo>
                <a:cubicBezTo>
                  <a:pt x="341263" y="213122"/>
                  <a:pt x="342751" y="220563"/>
                  <a:pt x="342900" y="228600"/>
                </a:cubicBezTo>
                <a:close/>
                <a:moveTo>
                  <a:pt x="85725" y="171450"/>
                </a:moveTo>
                <a:lnTo>
                  <a:pt x="257175" y="171450"/>
                </a:lnTo>
                <a:lnTo>
                  <a:pt x="257175" y="114300"/>
                </a:lnTo>
                <a:cubicBezTo>
                  <a:pt x="257175" y="102394"/>
                  <a:pt x="254943" y="91232"/>
                  <a:pt x="250478" y="80814"/>
                </a:cubicBezTo>
                <a:cubicBezTo>
                  <a:pt x="246013" y="70396"/>
                  <a:pt x="239911" y="61317"/>
                  <a:pt x="232172" y="53578"/>
                </a:cubicBezTo>
                <a:cubicBezTo>
                  <a:pt x="224433" y="45839"/>
                  <a:pt x="215354" y="39737"/>
                  <a:pt x="204936" y="35272"/>
                </a:cubicBezTo>
                <a:cubicBezTo>
                  <a:pt x="194518" y="30807"/>
                  <a:pt x="183356" y="28575"/>
                  <a:pt x="171450" y="28575"/>
                </a:cubicBezTo>
                <a:cubicBezTo>
                  <a:pt x="159544" y="28575"/>
                  <a:pt x="148382" y="30807"/>
                  <a:pt x="137964" y="35272"/>
                </a:cubicBezTo>
                <a:cubicBezTo>
                  <a:pt x="127546" y="39737"/>
                  <a:pt x="118467" y="45839"/>
                  <a:pt x="110728" y="53578"/>
                </a:cubicBezTo>
                <a:cubicBezTo>
                  <a:pt x="102989" y="61317"/>
                  <a:pt x="96887" y="70396"/>
                  <a:pt x="92422" y="80814"/>
                </a:cubicBezTo>
                <a:cubicBezTo>
                  <a:pt x="87957" y="91232"/>
                  <a:pt x="85725" y="102394"/>
                  <a:pt x="85725" y="114300"/>
                </a:cubicBezTo>
                <a:lnTo>
                  <a:pt x="85725" y="171450"/>
                </a:lnTo>
                <a:close/>
                <a:moveTo>
                  <a:pt x="314325" y="228600"/>
                </a:moveTo>
                <a:cubicBezTo>
                  <a:pt x="314325" y="224730"/>
                  <a:pt x="313581" y="221084"/>
                  <a:pt x="312093" y="217661"/>
                </a:cubicBezTo>
                <a:cubicBezTo>
                  <a:pt x="310604" y="214238"/>
                  <a:pt x="308595" y="211187"/>
                  <a:pt x="306065" y="208508"/>
                </a:cubicBezTo>
                <a:cubicBezTo>
                  <a:pt x="303535" y="205829"/>
                  <a:pt x="300484" y="203746"/>
                  <a:pt x="296912" y="202257"/>
                </a:cubicBezTo>
                <a:cubicBezTo>
                  <a:pt x="293340" y="200769"/>
                  <a:pt x="289620" y="200025"/>
                  <a:pt x="285750" y="200025"/>
                </a:cubicBezTo>
                <a:lnTo>
                  <a:pt x="57150" y="200025"/>
                </a:lnTo>
                <a:cubicBezTo>
                  <a:pt x="53132" y="200025"/>
                  <a:pt x="49411" y="200769"/>
                  <a:pt x="45988" y="202257"/>
                </a:cubicBezTo>
                <a:cubicBezTo>
                  <a:pt x="42565" y="203746"/>
                  <a:pt x="39588" y="205755"/>
                  <a:pt x="37058" y="208285"/>
                </a:cubicBezTo>
                <a:cubicBezTo>
                  <a:pt x="34528" y="210815"/>
                  <a:pt x="32445" y="213866"/>
                  <a:pt x="30807" y="217438"/>
                </a:cubicBezTo>
                <a:cubicBezTo>
                  <a:pt x="29170" y="221010"/>
                  <a:pt x="28426" y="224730"/>
                  <a:pt x="28575" y="228600"/>
                </a:cubicBezTo>
                <a:lnTo>
                  <a:pt x="28575" y="400050"/>
                </a:lnTo>
                <a:cubicBezTo>
                  <a:pt x="28575" y="404068"/>
                  <a:pt x="29319" y="407789"/>
                  <a:pt x="30807" y="411212"/>
                </a:cubicBezTo>
                <a:cubicBezTo>
                  <a:pt x="32296" y="414635"/>
                  <a:pt x="34305" y="417686"/>
                  <a:pt x="36835" y="420365"/>
                </a:cubicBezTo>
                <a:cubicBezTo>
                  <a:pt x="39365" y="423044"/>
                  <a:pt x="42342" y="425053"/>
                  <a:pt x="45765" y="426393"/>
                </a:cubicBezTo>
                <a:cubicBezTo>
                  <a:pt x="49188" y="427732"/>
                  <a:pt x="52983" y="428476"/>
                  <a:pt x="57150" y="428625"/>
                </a:cubicBezTo>
                <a:lnTo>
                  <a:pt x="285750" y="428625"/>
                </a:lnTo>
                <a:cubicBezTo>
                  <a:pt x="289768" y="428625"/>
                  <a:pt x="293489" y="427881"/>
                  <a:pt x="296912" y="426393"/>
                </a:cubicBezTo>
                <a:cubicBezTo>
                  <a:pt x="300335" y="424904"/>
                  <a:pt x="303312" y="422895"/>
                  <a:pt x="305842" y="420365"/>
                </a:cubicBezTo>
                <a:cubicBezTo>
                  <a:pt x="308372" y="417835"/>
                  <a:pt x="310455" y="414784"/>
                  <a:pt x="312093" y="411212"/>
                </a:cubicBezTo>
                <a:cubicBezTo>
                  <a:pt x="313730" y="407640"/>
                  <a:pt x="314474" y="403920"/>
                  <a:pt x="314325" y="400050"/>
                </a:cubicBezTo>
                <a:lnTo>
                  <a:pt x="314325" y="228600"/>
                </a:lnTo>
                <a:close/>
                <a:moveTo>
                  <a:pt x="200025" y="314325"/>
                </a:moveTo>
                <a:cubicBezTo>
                  <a:pt x="200025" y="318343"/>
                  <a:pt x="199281" y="322064"/>
                  <a:pt x="197793" y="325487"/>
                </a:cubicBezTo>
                <a:cubicBezTo>
                  <a:pt x="196304" y="328910"/>
                  <a:pt x="194295" y="331887"/>
                  <a:pt x="191765" y="334417"/>
                </a:cubicBezTo>
                <a:cubicBezTo>
                  <a:pt x="189235" y="336947"/>
                  <a:pt x="186184" y="339030"/>
                  <a:pt x="182612" y="340668"/>
                </a:cubicBezTo>
                <a:cubicBezTo>
                  <a:pt x="179040" y="342305"/>
                  <a:pt x="175320" y="343049"/>
                  <a:pt x="171450" y="342900"/>
                </a:cubicBezTo>
                <a:cubicBezTo>
                  <a:pt x="167432" y="342900"/>
                  <a:pt x="163711" y="342156"/>
                  <a:pt x="160288" y="340668"/>
                </a:cubicBezTo>
                <a:cubicBezTo>
                  <a:pt x="156865" y="339179"/>
                  <a:pt x="153814" y="337170"/>
                  <a:pt x="151135" y="334640"/>
                </a:cubicBezTo>
                <a:cubicBezTo>
                  <a:pt x="148456" y="332110"/>
                  <a:pt x="146447" y="329133"/>
                  <a:pt x="145107" y="325710"/>
                </a:cubicBezTo>
                <a:cubicBezTo>
                  <a:pt x="143768" y="322287"/>
                  <a:pt x="143024" y="318492"/>
                  <a:pt x="142875" y="314325"/>
                </a:cubicBezTo>
                <a:cubicBezTo>
                  <a:pt x="142875" y="310307"/>
                  <a:pt x="143619" y="306586"/>
                  <a:pt x="145107" y="303163"/>
                </a:cubicBezTo>
                <a:cubicBezTo>
                  <a:pt x="146596" y="299740"/>
                  <a:pt x="148605" y="296763"/>
                  <a:pt x="151135" y="294233"/>
                </a:cubicBezTo>
                <a:cubicBezTo>
                  <a:pt x="153665" y="291703"/>
                  <a:pt x="156716" y="289620"/>
                  <a:pt x="160288" y="287982"/>
                </a:cubicBezTo>
                <a:cubicBezTo>
                  <a:pt x="163860" y="286345"/>
                  <a:pt x="167580" y="285601"/>
                  <a:pt x="171450" y="285750"/>
                </a:cubicBezTo>
                <a:cubicBezTo>
                  <a:pt x="175320" y="285750"/>
                  <a:pt x="178966" y="286494"/>
                  <a:pt x="182389" y="287982"/>
                </a:cubicBezTo>
                <a:cubicBezTo>
                  <a:pt x="185812" y="289471"/>
                  <a:pt x="188863" y="291480"/>
                  <a:pt x="191542" y="294010"/>
                </a:cubicBezTo>
                <a:cubicBezTo>
                  <a:pt x="194221" y="296540"/>
                  <a:pt x="196304" y="299591"/>
                  <a:pt x="197793" y="303163"/>
                </a:cubicBezTo>
                <a:cubicBezTo>
                  <a:pt x="199281" y="306735"/>
                  <a:pt x="200025" y="310455"/>
                  <a:pt x="200025" y="314325"/>
                </a:cubicBezTo>
                <a:close/>
              </a:path>
            </a:pathLst>
          </a:custGeom>
          <a:solidFill>
            <a:schemeClr val="tx1"/>
          </a:solidFill>
          <a:ln w="223"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50" b="0" i="0" u="none" strike="noStrike" kern="1200" cap="none" spc="0" normalizeH="0" baseline="0" noProof="0">
              <a:ln>
                <a:noFill/>
              </a:ln>
              <a:solidFill>
                <a:srgbClr val="000000"/>
              </a:solidFill>
              <a:effectLst/>
              <a:uLnTx/>
              <a:uFillTx/>
              <a:latin typeface="Segoe UI"/>
              <a:ea typeface="+mn-ea"/>
              <a:cs typeface="+mn-cs"/>
            </a:endParaRPr>
          </a:p>
        </p:txBody>
      </p:sp>
      <p:sp>
        <p:nvSpPr>
          <p:cNvPr id="10" name="Graphic 84">
            <a:extLst>
              <a:ext uri="{FF2B5EF4-FFF2-40B4-BE49-F238E27FC236}">
                <a16:creationId xmlns:a16="http://schemas.microsoft.com/office/drawing/2014/main" id="{F01BB9CA-B038-E767-92EB-8DF19D3E5F46}"/>
              </a:ext>
            </a:extLst>
          </p:cNvPr>
          <p:cNvSpPr/>
          <p:nvPr/>
        </p:nvSpPr>
        <p:spPr>
          <a:xfrm>
            <a:off x="7331283" y="1817046"/>
            <a:ext cx="414844" cy="311132"/>
          </a:xfrm>
          <a:custGeom>
            <a:avLst/>
            <a:gdLst>
              <a:gd name="connsiteX0" fmla="*/ 0 w 457200"/>
              <a:gd name="connsiteY0" fmla="*/ 71438 h 342900"/>
              <a:gd name="connsiteX1" fmla="*/ 4242 w 457200"/>
              <a:gd name="connsiteY1" fmla="*/ 61392 h 342900"/>
              <a:gd name="connsiteX2" fmla="*/ 14288 w 457200"/>
              <a:gd name="connsiteY2" fmla="*/ 57150 h 342900"/>
              <a:gd name="connsiteX3" fmla="*/ 24333 w 457200"/>
              <a:gd name="connsiteY3" fmla="*/ 61392 h 342900"/>
              <a:gd name="connsiteX4" fmla="*/ 42863 w 457200"/>
              <a:gd name="connsiteY4" fmla="*/ 79697 h 342900"/>
              <a:gd name="connsiteX5" fmla="*/ 118542 w 457200"/>
              <a:gd name="connsiteY5" fmla="*/ 4242 h 342900"/>
              <a:gd name="connsiteX6" fmla="*/ 128588 w 457200"/>
              <a:gd name="connsiteY6" fmla="*/ 0 h 342900"/>
              <a:gd name="connsiteX7" fmla="*/ 138633 w 457200"/>
              <a:gd name="connsiteY7" fmla="*/ 4242 h 342900"/>
              <a:gd name="connsiteX8" fmla="*/ 142875 w 457200"/>
              <a:gd name="connsiteY8" fmla="*/ 14288 h 342900"/>
              <a:gd name="connsiteX9" fmla="*/ 138633 w 457200"/>
              <a:gd name="connsiteY9" fmla="*/ 24333 h 342900"/>
              <a:gd name="connsiteX10" fmla="*/ 52908 w 457200"/>
              <a:gd name="connsiteY10" fmla="*/ 110058 h 342900"/>
              <a:gd name="connsiteX11" fmla="*/ 42863 w 457200"/>
              <a:gd name="connsiteY11" fmla="*/ 114300 h 342900"/>
              <a:gd name="connsiteX12" fmla="*/ 32817 w 457200"/>
              <a:gd name="connsiteY12" fmla="*/ 110058 h 342900"/>
              <a:gd name="connsiteX13" fmla="*/ 4242 w 457200"/>
              <a:gd name="connsiteY13" fmla="*/ 81483 h 342900"/>
              <a:gd name="connsiteX14" fmla="*/ 0 w 457200"/>
              <a:gd name="connsiteY14" fmla="*/ 71438 h 342900"/>
              <a:gd name="connsiteX15" fmla="*/ 214313 w 457200"/>
              <a:gd name="connsiteY15" fmla="*/ 85725 h 342900"/>
              <a:gd name="connsiteX16" fmla="*/ 204267 w 457200"/>
              <a:gd name="connsiteY16" fmla="*/ 81483 h 342900"/>
              <a:gd name="connsiteX17" fmla="*/ 200025 w 457200"/>
              <a:gd name="connsiteY17" fmla="*/ 71438 h 342900"/>
              <a:gd name="connsiteX18" fmla="*/ 204267 w 457200"/>
              <a:gd name="connsiteY18" fmla="*/ 61392 h 342900"/>
              <a:gd name="connsiteX19" fmla="*/ 214313 w 457200"/>
              <a:gd name="connsiteY19" fmla="*/ 57150 h 342900"/>
              <a:gd name="connsiteX20" fmla="*/ 442913 w 457200"/>
              <a:gd name="connsiteY20" fmla="*/ 57150 h 342900"/>
              <a:gd name="connsiteX21" fmla="*/ 452958 w 457200"/>
              <a:gd name="connsiteY21" fmla="*/ 61392 h 342900"/>
              <a:gd name="connsiteX22" fmla="*/ 457200 w 457200"/>
              <a:gd name="connsiteY22" fmla="*/ 71438 h 342900"/>
              <a:gd name="connsiteX23" fmla="*/ 452958 w 457200"/>
              <a:gd name="connsiteY23" fmla="*/ 81483 h 342900"/>
              <a:gd name="connsiteX24" fmla="*/ 442913 w 457200"/>
              <a:gd name="connsiteY24" fmla="*/ 85725 h 342900"/>
              <a:gd name="connsiteX25" fmla="*/ 214313 w 457200"/>
              <a:gd name="connsiteY25" fmla="*/ 85725 h 342900"/>
              <a:gd name="connsiteX26" fmla="*/ 0 w 457200"/>
              <a:gd name="connsiteY26" fmla="*/ 185738 h 342900"/>
              <a:gd name="connsiteX27" fmla="*/ 4242 w 457200"/>
              <a:gd name="connsiteY27" fmla="*/ 175692 h 342900"/>
              <a:gd name="connsiteX28" fmla="*/ 14288 w 457200"/>
              <a:gd name="connsiteY28" fmla="*/ 171450 h 342900"/>
              <a:gd name="connsiteX29" fmla="*/ 24333 w 457200"/>
              <a:gd name="connsiteY29" fmla="*/ 175692 h 342900"/>
              <a:gd name="connsiteX30" fmla="*/ 42863 w 457200"/>
              <a:gd name="connsiteY30" fmla="*/ 193997 h 342900"/>
              <a:gd name="connsiteX31" fmla="*/ 118542 w 457200"/>
              <a:gd name="connsiteY31" fmla="*/ 118542 h 342900"/>
              <a:gd name="connsiteX32" fmla="*/ 128588 w 457200"/>
              <a:gd name="connsiteY32" fmla="*/ 114300 h 342900"/>
              <a:gd name="connsiteX33" fmla="*/ 138633 w 457200"/>
              <a:gd name="connsiteY33" fmla="*/ 118542 h 342900"/>
              <a:gd name="connsiteX34" fmla="*/ 142875 w 457200"/>
              <a:gd name="connsiteY34" fmla="*/ 128588 h 342900"/>
              <a:gd name="connsiteX35" fmla="*/ 138633 w 457200"/>
              <a:gd name="connsiteY35" fmla="*/ 138633 h 342900"/>
              <a:gd name="connsiteX36" fmla="*/ 52908 w 457200"/>
              <a:gd name="connsiteY36" fmla="*/ 224358 h 342900"/>
              <a:gd name="connsiteX37" fmla="*/ 42863 w 457200"/>
              <a:gd name="connsiteY37" fmla="*/ 228600 h 342900"/>
              <a:gd name="connsiteX38" fmla="*/ 32817 w 457200"/>
              <a:gd name="connsiteY38" fmla="*/ 224358 h 342900"/>
              <a:gd name="connsiteX39" fmla="*/ 4242 w 457200"/>
              <a:gd name="connsiteY39" fmla="*/ 195783 h 342900"/>
              <a:gd name="connsiteX40" fmla="*/ 0 w 457200"/>
              <a:gd name="connsiteY40" fmla="*/ 185738 h 342900"/>
              <a:gd name="connsiteX41" fmla="*/ 214313 w 457200"/>
              <a:gd name="connsiteY41" fmla="*/ 200025 h 342900"/>
              <a:gd name="connsiteX42" fmla="*/ 204267 w 457200"/>
              <a:gd name="connsiteY42" fmla="*/ 195783 h 342900"/>
              <a:gd name="connsiteX43" fmla="*/ 200025 w 457200"/>
              <a:gd name="connsiteY43" fmla="*/ 185738 h 342900"/>
              <a:gd name="connsiteX44" fmla="*/ 204267 w 457200"/>
              <a:gd name="connsiteY44" fmla="*/ 175692 h 342900"/>
              <a:gd name="connsiteX45" fmla="*/ 214313 w 457200"/>
              <a:gd name="connsiteY45" fmla="*/ 171450 h 342900"/>
              <a:gd name="connsiteX46" fmla="*/ 442913 w 457200"/>
              <a:gd name="connsiteY46" fmla="*/ 171450 h 342900"/>
              <a:gd name="connsiteX47" fmla="*/ 452958 w 457200"/>
              <a:gd name="connsiteY47" fmla="*/ 175692 h 342900"/>
              <a:gd name="connsiteX48" fmla="*/ 457200 w 457200"/>
              <a:gd name="connsiteY48" fmla="*/ 185738 h 342900"/>
              <a:gd name="connsiteX49" fmla="*/ 452958 w 457200"/>
              <a:gd name="connsiteY49" fmla="*/ 195783 h 342900"/>
              <a:gd name="connsiteX50" fmla="*/ 442913 w 457200"/>
              <a:gd name="connsiteY50" fmla="*/ 200025 h 342900"/>
              <a:gd name="connsiteX51" fmla="*/ 214313 w 457200"/>
              <a:gd name="connsiteY51" fmla="*/ 200025 h 342900"/>
              <a:gd name="connsiteX52" fmla="*/ 0 w 457200"/>
              <a:gd name="connsiteY52" fmla="*/ 300038 h 342900"/>
              <a:gd name="connsiteX53" fmla="*/ 4242 w 457200"/>
              <a:gd name="connsiteY53" fmla="*/ 289992 h 342900"/>
              <a:gd name="connsiteX54" fmla="*/ 14288 w 457200"/>
              <a:gd name="connsiteY54" fmla="*/ 285750 h 342900"/>
              <a:gd name="connsiteX55" fmla="*/ 24333 w 457200"/>
              <a:gd name="connsiteY55" fmla="*/ 289992 h 342900"/>
              <a:gd name="connsiteX56" fmla="*/ 42863 w 457200"/>
              <a:gd name="connsiteY56" fmla="*/ 308297 h 342900"/>
              <a:gd name="connsiteX57" fmla="*/ 118542 w 457200"/>
              <a:gd name="connsiteY57" fmla="*/ 232842 h 342900"/>
              <a:gd name="connsiteX58" fmla="*/ 128588 w 457200"/>
              <a:gd name="connsiteY58" fmla="*/ 228600 h 342900"/>
              <a:gd name="connsiteX59" fmla="*/ 138633 w 457200"/>
              <a:gd name="connsiteY59" fmla="*/ 232842 h 342900"/>
              <a:gd name="connsiteX60" fmla="*/ 142875 w 457200"/>
              <a:gd name="connsiteY60" fmla="*/ 242888 h 342900"/>
              <a:gd name="connsiteX61" fmla="*/ 138633 w 457200"/>
              <a:gd name="connsiteY61" fmla="*/ 252933 h 342900"/>
              <a:gd name="connsiteX62" fmla="*/ 52908 w 457200"/>
              <a:gd name="connsiteY62" fmla="*/ 338658 h 342900"/>
              <a:gd name="connsiteX63" fmla="*/ 42863 w 457200"/>
              <a:gd name="connsiteY63" fmla="*/ 342900 h 342900"/>
              <a:gd name="connsiteX64" fmla="*/ 32817 w 457200"/>
              <a:gd name="connsiteY64" fmla="*/ 338658 h 342900"/>
              <a:gd name="connsiteX65" fmla="*/ 4242 w 457200"/>
              <a:gd name="connsiteY65" fmla="*/ 310083 h 342900"/>
              <a:gd name="connsiteX66" fmla="*/ 0 w 457200"/>
              <a:gd name="connsiteY66" fmla="*/ 300038 h 342900"/>
              <a:gd name="connsiteX67" fmla="*/ 214313 w 457200"/>
              <a:gd name="connsiteY67" fmla="*/ 314325 h 342900"/>
              <a:gd name="connsiteX68" fmla="*/ 204267 w 457200"/>
              <a:gd name="connsiteY68" fmla="*/ 310083 h 342900"/>
              <a:gd name="connsiteX69" fmla="*/ 200025 w 457200"/>
              <a:gd name="connsiteY69" fmla="*/ 300038 h 342900"/>
              <a:gd name="connsiteX70" fmla="*/ 204267 w 457200"/>
              <a:gd name="connsiteY70" fmla="*/ 289992 h 342900"/>
              <a:gd name="connsiteX71" fmla="*/ 214313 w 457200"/>
              <a:gd name="connsiteY71" fmla="*/ 285750 h 342900"/>
              <a:gd name="connsiteX72" fmla="*/ 442913 w 457200"/>
              <a:gd name="connsiteY72" fmla="*/ 285750 h 342900"/>
              <a:gd name="connsiteX73" fmla="*/ 452958 w 457200"/>
              <a:gd name="connsiteY73" fmla="*/ 289992 h 342900"/>
              <a:gd name="connsiteX74" fmla="*/ 457200 w 457200"/>
              <a:gd name="connsiteY74" fmla="*/ 300038 h 342900"/>
              <a:gd name="connsiteX75" fmla="*/ 452958 w 457200"/>
              <a:gd name="connsiteY75" fmla="*/ 310083 h 342900"/>
              <a:gd name="connsiteX76" fmla="*/ 442913 w 457200"/>
              <a:gd name="connsiteY76" fmla="*/ 314325 h 342900"/>
              <a:gd name="connsiteX77" fmla="*/ 214313 w 457200"/>
              <a:gd name="connsiteY77" fmla="*/ 31432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457200" h="342900">
                <a:moveTo>
                  <a:pt x="0" y="71438"/>
                </a:moveTo>
                <a:cubicBezTo>
                  <a:pt x="0" y="67568"/>
                  <a:pt x="1414" y="64219"/>
                  <a:pt x="4242" y="61392"/>
                </a:cubicBezTo>
                <a:cubicBezTo>
                  <a:pt x="7069" y="58564"/>
                  <a:pt x="10418" y="57150"/>
                  <a:pt x="14288" y="57150"/>
                </a:cubicBezTo>
                <a:cubicBezTo>
                  <a:pt x="18157" y="57150"/>
                  <a:pt x="21506" y="58564"/>
                  <a:pt x="24333" y="61392"/>
                </a:cubicBezTo>
                <a:lnTo>
                  <a:pt x="42863" y="79697"/>
                </a:lnTo>
                <a:lnTo>
                  <a:pt x="118542" y="4242"/>
                </a:lnTo>
                <a:cubicBezTo>
                  <a:pt x="121369" y="1414"/>
                  <a:pt x="124718" y="0"/>
                  <a:pt x="128588" y="0"/>
                </a:cubicBezTo>
                <a:cubicBezTo>
                  <a:pt x="132457" y="0"/>
                  <a:pt x="135806" y="1414"/>
                  <a:pt x="138633" y="4242"/>
                </a:cubicBezTo>
                <a:cubicBezTo>
                  <a:pt x="141461" y="7069"/>
                  <a:pt x="142875" y="10418"/>
                  <a:pt x="142875" y="14288"/>
                </a:cubicBezTo>
                <a:cubicBezTo>
                  <a:pt x="142875" y="18157"/>
                  <a:pt x="141461" y="21506"/>
                  <a:pt x="138633" y="24333"/>
                </a:cubicBezTo>
                <a:lnTo>
                  <a:pt x="52908" y="110058"/>
                </a:lnTo>
                <a:cubicBezTo>
                  <a:pt x="50081" y="112886"/>
                  <a:pt x="46732" y="114300"/>
                  <a:pt x="42863" y="114300"/>
                </a:cubicBezTo>
                <a:cubicBezTo>
                  <a:pt x="38993" y="114300"/>
                  <a:pt x="35644" y="112886"/>
                  <a:pt x="32817" y="110058"/>
                </a:cubicBezTo>
                <a:lnTo>
                  <a:pt x="4242" y="81483"/>
                </a:lnTo>
                <a:cubicBezTo>
                  <a:pt x="1414" y="78656"/>
                  <a:pt x="0" y="75307"/>
                  <a:pt x="0" y="71438"/>
                </a:cubicBezTo>
                <a:close/>
                <a:moveTo>
                  <a:pt x="214313" y="85725"/>
                </a:moveTo>
                <a:cubicBezTo>
                  <a:pt x="210443" y="85725"/>
                  <a:pt x="207094" y="84311"/>
                  <a:pt x="204267" y="81483"/>
                </a:cubicBezTo>
                <a:cubicBezTo>
                  <a:pt x="201439" y="78656"/>
                  <a:pt x="200025" y="75307"/>
                  <a:pt x="200025" y="71438"/>
                </a:cubicBezTo>
                <a:cubicBezTo>
                  <a:pt x="200025" y="67568"/>
                  <a:pt x="201439" y="64219"/>
                  <a:pt x="204267" y="61392"/>
                </a:cubicBezTo>
                <a:cubicBezTo>
                  <a:pt x="207094" y="58564"/>
                  <a:pt x="210443" y="57150"/>
                  <a:pt x="214313" y="57150"/>
                </a:cubicBezTo>
                <a:lnTo>
                  <a:pt x="442913" y="57150"/>
                </a:lnTo>
                <a:cubicBezTo>
                  <a:pt x="446782" y="57150"/>
                  <a:pt x="450131" y="58564"/>
                  <a:pt x="452958" y="61392"/>
                </a:cubicBezTo>
                <a:cubicBezTo>
                  <a:pt x="455786" y="64219"/>
                  <a:pt x="457200" y="67568"/>
                  <a:pt x="457200" y="71438"/>
                </a:cubicBezTo>
                <a:cubicBezTo>
                  <a:pt x="457200" y="75307"/>
                  <a:pt x="455786" y="78656"/>
                  <a:pt x="452958" y="81483"/>
                </a:cubicBezTo>
                <a:cubicBezTo>
                  <a:pt x="450131" y="84311"/>
                  <a:pt x="446782" y="85725"/>
                  <a:pt x="442913" y="85725"/>
                </a:cubicBezTo>
                <a:lnTo>
                  <a:pt x="214313" y="85725"/>
                </a:lnTo>
                <a:close/>
                <a:moveTo>
                  <a:pt x="0" y="185738"/>
                </a:moveTo>
                <a:cubicBezTo>
                  <a:pt x="0" y="181868"/>
                  <a:pt x="1414" y="178519"/>
                  <a:pt x="4242" y="175692"/>
                </a:cubicBezTo>
                <a:cubicBezTo>
                  <a:pt x="7069" y="172864"/>
                  <a:pt x="10418" y="171450"/>
                  <a:pt x="14288" y="171450"/>
                </a:cubicBezTo>
                <a:cubicBezTo>
                  <a:pt x="18157" y="171450"/>
                  <a:pt x="21506" y="172864"/>
                  <a:pt x="24333" y="175692"/>
                </a:cubicBezTo>
                <a:lnTo>
                  <a:pt x="42863" y="193997"/>
                </a:lnTo>
                <a:lnTo>
                  <a:pt x="118542" y="118542"/>
                </a:lnTo>
                <a:cubicBezTo>
                  <a:pt x="121369" y="115714"/>
                  <a:pt x="124718" y="114300"/>
                  <a:pt x="128588" y="114300"/>
                </a:cubicBezTo>
                <a:cubicBezTo>
                  <a:pt x="132457" y="114300"/>
                  <a:pt x="135806" y="115714"/>
                  <a:pt x="138633" y="118542"/>
                </a:cubicBezTo>
                <a:cubicBezTo>
                  <a:pt x="141461" y="121369"/>
                  <a:pt x="142875" y="124718"/>
                  <a:pt x="142875" y="128588"/>
                </a:cubicBezTo>
                <a:cubicBezTo>
                  <a:pt x="142875" y="132457"/>
                  <a:pt x="141461" y="135806"/>
                  <a:pt x="138633" y="138633"/>
                </a:cubicBezTo>
                <a:lnTo>
                  <a:pt x="52908" y="224358"/>
                </a:lnTo>
                <a:cubicBezTo>
                  <a:pt x="50081" y="227186"/>
                  <a:pt x="46732" y="228600"/>
                  <a:pt x="42863" y="228600"/>
                </a:cubicBezTo>
                <a:cubicBezTo>
                  <a:pt x="38993" y="228600"/>
                  <a:pt x="35644" y="227186"/>
                  <a:pt x="32817" y="224358"/>
                </a:cubicBezTo>
                <a:lnTo>
                  <a:pt x="4242" y="195783"/>
                </a:lnTo>
                <a:cubicBezTo>
                  <a:pt x="1414" y="192956"/>
                  <a:pt x="0" y="189607"/>
                  <a:pt x="0" y="185738"/>
                </a:cubicBezTo>
                <a:close/>
                <a:moveTo>
                  <a:pt x="214313" y="200025"/>
                </a:moveTo>
                <a:cubicBezTo>
                  <a:pt x="210443" y="200025"/>
                  <a:pt x="207094" y="198611"/>
                  <a:pt x="204267" y="195783"/>
                </a:cubicBezTo>
                <a:cubicBezTo>
                  <a:pt x="201439" y="192956"/>
                  <a:pt x="200025" y="189607"/>
                  <a:pt x="200025" y="185738"/>
                </a:cubicBezTo>
                <a:cubicBezTo>
                  <a:pt x="200025" y="181868"/>
                  <a:pt x="201439" y="178519"/>
                  <a:pt x="204267" y="175692"/>
                </a:cubicBezTo>
                <a:cubicBezTo>
                  <a:pt x="207094" y="172864"/>
                  <a:pt x="210443" y="171450"/>
                  <a:pt x="214313" y="171450"/>
                </a:cubicBezTo>
                <a:lnTo>
                  <a:pt x="442913" y="171450"/>
                </a:lnTo>
                <a:cubicBezTo>
                  <a:pt x="446782" y="171450"/>
                  <a:pt x="450131" y="172864"/>
                  <a:pt x="452958" y="175692"/>
                </a:cubicBezTo>
                <a:cubicBezTo>
                  <a:pt x="455786" y="178519"/>
                  <a:pt x="457200" y="181868"/>
                  <a:pt x="457200" y="185738"/>
                </a:cubicBezTo>
                <a:cubicBezTo>
                  <a:pt x="457200" y="189607"/>
                  <a:pt x="455786" y="192956"/>
                  <a:pt x="452958" y="195783"/>
                </a:cubicBezTo>
                <a:cubicBezTo>
                  <a:pt x="450131" y="198611"/>
                  <a:pt x="446782" y="200025"/>
                  <a:pt x="442913" y="200025"/>
                </a:cubicBezTo>
                <a:lnTo>
                  <a:pt x="214313" y="200025"/>
                </a:lnTo>
                <a:close/>
                <a:moveTo>
                  <a:pt x="0" y="300038"/>
                </a:moveTo>
                <a:cubicBezTo>
                  <a:pt x="0" y="296168"/>
                  <a:pt x="1414" y="292819"/>
                  <a:pt x="4242" y="289992"/>
                </a:cubicBezTo>
                <a:cubicBezTo>
                  <a:pt x="7069" y="287164"/>
                  <a:pt x="10418" y="285750"/>
                  <a:pt x="14288" y="285750"/>
                </a:cubicBezTo>
                <a:cubicBezTo>
                  <a:pt x="18157" y="285750"/>
                  <a:pt x="21506" y="287164"/>
                  <a:pt x="24333" y="289992"/>
                </a:cubicBezTo>
                <a:lnTo>
                  <a:pt x="42863" y="308297"/>
                </a:lnTo>
                <a:lnTo>
                  <a:pt x="118542" y="232842"/>
                </a:lnTo>
                <a:cubicBezTo>
                  <a:pt x="121369" y="230014"/>
                  <a:pt x="124718" y="228600"/>
                  <a:pt x="128588" y="228600"/>
                </a:cubicBezTo>
                <a:cubicBezTo>
                  <a:pt x="132457" y="228600"/>
                  <a:pt x="135806" y="230014"/>
                  <a:pt x="138633" y="232842"/>
                </a:cubicBezTo>
                <a:cubicBezTo>
                  <a:pt x="141461" y="235669"/>
                  <a:pt x="142875" y="239018"/>
                  <a:pt x="142875" y="242888"/>
                </a:cubicBezTo>
                <a:cubicBezTo>
                  <a:pt x="142875" y="246757"/>
                  <a:pt x="141461" y="250106"/>
                  <a:pt x="138633" y="252933"/>
                </a:cubicBezTo>
                <a:lnTo>
                  <a:pt x="52908" y="338658"/>
                </a:lnTo>
                <a:cubicBezTo>
                  <a:pt x="50081" y="341486"/>
                  <a:pt x="46732" y="342900"/>
                  <a:pt x="42863" y="342900"/>
                </a:cubicBezTo>
                <a:cubicBezTo>
                  <a:pt x="38993" y="342900"/>
                  <a:pt x="35644" y="341486"/>
                  <a:pt x="32817" y="338658"/>
                </a:cubicBezTo>
                <a:lnTo>
                  <a:pt x="4242" y="310083"/>
                </a:lnTo>
                <a:cubicBezTo>
                  <a:pt x="1414" y="307256"/>
                  <a:pt x="0" y="303907"/>
                  <a:pt x="0" y="300038"/>
                </a:cubicBezTo>
                <a:close/>
                <a:moveTo>
                  <a:pt x="214313" y="314325"/>
                </a:moveTo>
                <a:cubicBezTo>
                  <a:pt x="210443" y="314325"/>
                  <a:pt x="207094" y="312911"/>
                  <a:pt x="204267" y="310083"/>
                </a:cubicBezTo>
                <a:cubicBezTo>
                  <a:pt x="201439" y="307256"/>
                  <a:pt x="200025" y="303907"/>
                  <a:pt x="200025" y="300038"/>
                </a:cubicBezTo>
                <a:cubicBezTo>
                  <a:pt x="200025" y="296168"/>
                  <a:pt x="201439" y="292819"/>
                  <a:pt x="204267" y="289992"/>
                </a:cubicBezTo>
                <a:cubicBezTo>
                  <a:pt x="207094" y="287164"/>
                  <a:pt x="210443" y="285750"/>
                  <a:pt x="214313" y="285750"/>
                </a:cubicBezTo>
                <a:lnTo>
                  <a:pt x="442913" y="285750"/>
                </a:lnTo>
                <a:cubicBezTo>
                  <a:pt x="446782" y="285750"/>
                  <a:pt x="450131" y="287164"/>
                  <a:pt x="452958" y="289992"/>
                </a:cubicBezTo>
                <a:cubicBezTo>
                  <a:pt x="455786" y="292819"/>
                  <a:pt x="457200" y="296168"/>
                  <a:pt x="457200" y="300038"/>
                </a:cubicBezTo>
                <a:cubicBezTo>
                  <a:pt x="457200" y="303907"/>
                  <a:pt x="455786" y="307256"/>
                  <a:pt x="452958" y="310083"/>
                </a:cubicBezTo>
                <a:cubicBezTo>
                  <a:pt x="450131" y="312911"/>
                  <a:pt x="446782" y="314325"/>
                  <a:pt x="442913" y="314325"/>
                </a:cubicBezTo>
                <a:lnTo>
                  <a:pt x="214313" y="314325"/>
                </a:lnTo>
                <a:close/>
              </a:path>
            </a:pathLst>
          </a:custGeom>
          <a:solidFill>
            <a:schemeClr val="tx1"/>
          </a:solidFill>
          <a:ln w="223"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50" b="0" i="0" u="none" strike="noStrike" kern="1200" cap="none" spc="0" normalizeH="0" baseline="0" noProof="0">
              <a:ln>
                <a:noFill/>
              </a:ln>
              <a:solidFill>
                <a:srgbClr val="000000"/>
              </a:solidFill>
              <a:effectLst/>
              <a:uLnTx/>
              <a:uFillTx/>
              <a:latin typeface="Segoe UI"/>
              <a:ea typeface="+mn-ea"/>
              <a:cs typeface="+mn-cs"/>
            </a:endParaRPr>
          </a:p>
        </p:txBody>
      </p:sp>
      <p:sp>
        <p:nvSpPr>
          <p:cNvPr id="11" name="Graphic 91">
            <a:extLst>
              <a:ext uri="{FF2B5EF4-FFF2-40B4-BE49-F238E27FC236}">
                <a16:creationId xmlns:a16="http://schemas.microsoft.com/office/drawing/2014/main" id="{49ABE7D9-D453-E0DB-3B43-E16D12AE9E79}"/>
              </a:ext>
            </a:extLst>
          </p:cNvPr>
          <p:cNvSpPr/>
          <p:nvPr/>
        </p:nvSpPr>
        <p:spPr>
          <a:xfrm>
            <a:off x="4446991" y="1767925"/>
            <a:ext cx="408564" cy="409372"/>
          </a:xfrm>
          <a:custGeom>
            <a:avLst/>
            <a:gdLst>
              <a:gd name="connsiteX0" fmla="*/ 82600 w 450279"/>
              <a:gd name="connsiteY0" fmla="*/ 217884 h 451172"/>
              <a:gd name="connsiteX1" fmla="*/ 73000 w 450279"/>
              <a:gd name="connsiteY1" fmla="*/ 215875 h 451172"/>
              <a:gd name="connsiteX2" fmla="*/ 61838 w 450279"/>
              <a:gd name="connsiteY2" fmla="*/ 210741 h 451172"/>
              <a:gd name="connsiteX3" fmla="*/ 50899 w 450279"/>
              <a:gd name="connsiteY3" fmla="*/ 204267 h 451172"/>
              <a:gd name="connsiteX4" fmla="*/ 42863 w 450279"/>
              <a:gd name="connsiteY4" fmla="*/ 198239 h 451172"/>
              <a:gd name="connsiteX5" fmla="*/ 37281 w 450279"/>
              <a:gd name="connsiteY5" fmla="*/ 190872 h 451172"/>
              <a:gd name="connsiteX6" fmla="*/ 35272 w 450279"/>
              <a:gd name="connsiteY6" fmla="*/ 181942 h 451172"/>
              <a:gd name="connsiteX7" fmla="*/ 36612 w 450279"/>
              <a:gd name="connsiteY7" fmla="*/ 174799 h 451172"/>
              <a:gd name="connsiteX8" fmla="*/ 39291 w 450279"/>
              <a:gd name="connsiteY8" fmla="*/ 167432 h 451172"/>
              <a:gd name="connsiteX9" fmla="*/ 42193 w 450279"/>
              <a:gd name="connsiteY9" fmla="*/ 160288 h 451172"/>
              <a:gd name="connsiteX10" fmla="*/ 43532 w 450279"/>
              <a:gd name="connsiteY10" fmla="*/ 153591 h 451172"/>
              <a:gd name="connsiteX11" fmla="*/ 42416 w 450279"/>
              <a:gd name="connsiteY11" fmla="*/ 150912 h 451172"/>
              <a:gd name="connsiteX12" fmla="*/ 39514 w 450279"/>
              <a:gd name="connsiteY12" fmla="*/ 149349 h 451172"/>
              <a:gd name="connsiteX13" fmla="*/ 18976 w 450279"/>
              <a:gd name="connsiteY13" fmla="*/ 145777 h 451172"/>
              <a:gd name="connsiteX14" fmla="*/ 8260 w 450279"/>
              <a:gd name="connsiteY14" fmla="*/ 141089 h 451172"/>
              <a:gd name="connsiteX15" fmla="*/ 2679 w 450279"/>
              <a:gd name="connsiteY15" fmla="*/ 132159 h 451172"/>
              <a:gd name="connsiteX16" fmla="*/ 446 w 450279"/>
              <a:gd name="connsiteY16" fmla="*/ 121221 h 451172"/>
              <a:gd name="connsiteX17" fmla="*/ 0 w 450279"/>
              <a:gd name="connsiteY17" fmla="*/ 109612 h 451172"/>
              <a:gd name="connsiteX18" fmla="*/ 1339 w 450279"/>
              <a:gd name="connsiteY18" fmla="*/ 91753 h 451172"/>
              <a:gd name="connsiteX19" fmla="*/ 1563 w 450279"/>
              <a:gd name="connsiteY19" fmla="*/ 91529 h 451172"/>
              <a:gd name="connsiteX20" fmla="*/ 5804 w 450279"/>
              <a:gd name="connsiteY20" fmla="*/ 81707 h 451172"/>
              <a:gd name="connsiteX21" fmla="*/ 13841 w 450279"/>
              <a:gd name="connsiteY21" fmla="*/ 76126 h 451172"/>
              <a:gd name="connsiteX22" fmla="*/ 23217 w 450279"/>
              <a:gd name="connsiteY22" fmla="*/ 73447 h 451172"/>
              <a:gd name="connsiteX23" fmla="*/ 32593 w 450279"/>
              <a:gd name="connsiteY23" fmla="*/ 71884 h 451172"/>
              <a:gd name="connsiteX24" fmla="*/ 39514 w 450279"/>
              <a:gd name="connsiteY24" fmla="*/ 70098 h 451172"/>
              <a:gd name="connsiteX25" fmla="*/ 42416 w 450279"/>
              <a:gd name="connsiteY25" fmla="*/ 66303 h 451172"/>
              <a:gd name="connsiteX26" fmla="*/ 41077 w 450279"/>
              <a:gd name="connsiteY26" fmla="*/ 59829 h 451172"/>
              <a:gd name="connsiteX27" fmla="*/ 37951 w 450279"/>
              <a:gd name="connsiteY27" fmla="*/ 52462 h 451172"/>
              <a:gd name="connsiteX28" fmla="*/ 34826 w 450279"/>
              <a:gd name="connsiteY28" fmla="*/ 44872 h 451172"/>
              <a:gd name="connsiteX29" fmla="*/ 33486 w 450279"/>
              <a:gd name="connsiteY29" fmla="*/ 37281 h 451172"/>
              <a:gd name="connsiteX30" fmla="*/ 37728 w 450279"/>
              <a:gd name="connsiteY30" fmla="*/ 25450 h 451172"/>
              <a:gd name="connsiteX31" fmla="*/ 47997 w 450279"/>
              <a:gd name="connsiteY31" fmla="*/ 15627 h 451172"/>
              <a:gd name="connsiteX32" fmla="*/ 60722 w 450279"/>
              <a:gd name="connsiteY32" fmla="*/ 7813 h 451172"/>
              <a:gd name="connsiteX33" fmla="*/ 72777 w 450279"/>
              <a:gd name="connsiteY33" fmla="*/ 2456 h 451172"/>
              <a:gd name="connsiteX34" fmla="*/ 73000 w 450279"/>
              <a:gd name="connsiteY34" fmla="*/ 2456 h 451172"/>
              <a:gd name="connsiteX35" fmla="*/ 76572 w 450279"/>
              <a:gd name="connsiteY35" fmla="*/ 1563 h 451172"/>
              <a:gd name="connsiteX36" fmla="*/ 80367 w 450279"/>
              <a:gd name="connsiteY36" fmla="*/ 1116 h 451172"/>
              <a:gd name="connsiteX37" fmla="*/ 92422 w 450279"/>
              <a:gd name="connsiteY37" fmla="*/ 4911 h 451172"/>
              <a:gd name="connsiteX38" fmla="*/ 100905 w 450279"/>
              <a:gd name="connsiteY38" fmla="*/ 13395 h 451172"/>
              <a:gd name="connsiteX39" fmla="*/ 107603 w 450279"/>
              <a:gd name="connsiteY39" fmla="*/ 21878 h 451172"/>
              <a:gd name="connsiteX40" fmla="*/ 113407 w 450279"/>
              <a:gd name="connsiteY40" fmla="*/ 25673 h 451172"/>
              <a:gd name="connsiteX41" fmla="*/ 115639 w 450279"/>
              <a:gd name="connsiteY41" fmla="*/ 25226 h 451172"/>
              <a:gd name="connsiteX42" fmla="*/ 116309 w 450279"/>
              <a:gd name="connsiteY42" fmla="*/ 24557 h 451172"/>
              <a:gd name="connsiteX43" fmla="*/ 117202 w 450279"/>
              <a:gd name="connsiteY43" fmla="*/ 23887 h 451172"/>
              <a:gd name="connsiteX44" fmla="*/ 130597 w 450279"/>
              <a:gd name="connsiteY44" fmla="*/ 7813 h 451172"/>
              <a:gd name="connsiteX45" fmla="*/ 147117 w 450279"/>
              <a:gd name="connsiteY45" fmla="*/ 0 h 451172"/>
              <a:gd name="connsiteX46" fmla="*/ 156270 w 450279"/>
              <a:gd name="connsiteY46" fmla="*/ 2009 h 451172"/>
              <a:gd name="connsiteX47" fmla="*/ 167432 w 450279"/>
              <a:gd name="connsiteY47" fmla="*/ 7367 h 451172"/>
              <a:gd name="connsiteX48" fmla="*/ 177924 w 450279"/>
              <a:gd name="connsiteY48" fmla="*/ 13841 h 451172"/>
              <a:gd name="connsiteX49" fmla="*/ 185961 w 450279"/>
              <a:gd name="connsiteY49" fmla="*/ 19645 h 451172"/>
              <a:gd name="connsiteX50" fmla="*/ 186184 w 450279"/>
              <a:gd name="connsiteY50" fmla="*/ 19645 h 451172"/>
              <a:gd name="connsiteX51" fmla="*/ 193774 w 450279"/>
              <a:gd name="connsiteY51" fmla="*/ 35942 h 451172"/>
              <a:gd name="connsiteX52" fmla="*/ 192435 w 450279"/>
              <a:gd name="connsiteY52" fmla="*/ 43532 h 451172"/>
              <a:gd name="connsiteX53" fmla="*/ 189756 w 450279"/>
              <a:gd name="connsiteY53" fmla="*/ 50899 h 451172"/>
              <a:gd name="connsiteX54" fmla="*/ 186854 w 450279"/>
              <a:gd name="connsiteY54" fmla="*/ 58043 h 451172"/>
              <a:gd name="connsiteX55" fmla="*/ 185514 w 450279"/>
              <a:gd name="connsiteY55" fmla="*/ 64294 h 451172"/>
              <a:gd name="connsiteX56" fmla="*/ 186854 w 450279"/>
              <a:gd name="connsiteY56" fmla="*/ 67196 h 451172"/>
              <a:gd name="connsiteX57" fmla="*/ 189756 w 450279"/>
              <a:gd name="connsiteY57" fmla="*/ 68759 h 451172"/>
              <a:gd name="connsiteX58" fmla="*/ 210294 w 450279"/>
              <a:gd name="connsiteY58" fmla="*/ 72107 h 451172"/>
              <a:gd name="connsiteX59" fmla="*/ 220787 w 450279"/>
              <a:gd name="connsiteY59" fmla="*/ 77019 h 451172"/>
              <a:gd name="connsiteX60" fmla="*/ 226368 w 450279"/>
              <a:gd name="connsiteY60" fmla="*/ 85948 h 451172"/>
              <a:gd name="connsiteX61" fmla="*/ 228600 w 450279"/>
              <a:gd name="connsiteY61" fmla="*/ 97110 h 451172"/>
              <a:gd name="connsiteX62" fmla="*/ 229046 w 450279"/>
              <a:gd name="connsiteY62" fmla="*/ 108496 h 451172"/>
              <a:gd name="connsiteX63" fmla="*/ 229046 w 450279"/>
              <a:gd name="connsiteY63" fmla="*/ 116086 h 451172"/>
              <a:gd name="connsiteX64" fmla="*/ 228154 w 450279"/>
              <a:gd name="connsiteY64" fmla="*/ 123899 h 451172"/>
              <a:gd name="connsiteX65" fmla="*/ 226144 w 450279"/>
              <a:gd name="connsiteY65" fmla="*/ 131266 h 451172"/>
              <a:gd name="connsiteX66" fmla="*/ 221903 w 450279"/>
              <a:gd name="connsiteY66" fmla="*/ 137740 h 451172"/>
              <a:gd name="connsiteX67" fmla="*/ 212527 w 450279"/>
              <a:gd name="connsiteY67" fmla="*/ 142875 h 451172"/>
              <a:gd name="connsiteX68" fmla="*/ 200918 w 450279"/>
              <a:gd name="connsiteY68" fmla="*/ 145331 h 451172"/>
              <a:gd name="connsiteX69" fmla="*/ 190872 w 450279"/>
              <a:gd name="connsiteY69" fmla="*/ 147563 h 451172"/>
              <a:gd name="connsiteX70" fmla="*/ 186630 w 450279"/>
              <a:gd name="connsiteY70" fmla="*/ 151805 h 451172"/>
              <a:gd name="connsiteX71" fmla="*/ 187747 w 450279"/>
              <a:gd name="connsiteY71" fmla="*/ 156046 h 451172"/>
              <a:gd name="connsiteX72" fmla="*/ 190202 w 450279"/>
              <a:gd name="connsiteY72" fmla="*/ 162967 h 451172"/>
              <a:gd name="connsiteX73" fmla="*/ 192658 w 450279"/>
              <a:gd name="connsiteY73" fmla="*/ 169887 h 451172"/>
              <a:gd name="connsiteX74" fmla="*/ 194221 w 450279"/>
              <a:gd name="connsiteY74" fmla="*/ 173459 h 451172"/>
              <a:gd name="connsiteX75" fmla="*/ 194221 w 450279"/>
              <a:gd name="connsiteY75" fmla="*/ 173236 h 451172"/>
              <a:gd name="connsiteX76" fmla="*/ 195560 w 450279"/>
              <a:gd name="connsiteY76" fmla="*/ 180826 h 451172"/>
              <a:gd name="connsiteX77" fmla="*/ 193551 w 450279"/>
              <a:gd name="connsiteY77" fmla="*/ 189756 h 451172"/>
              <a:gd name="connsiteX78" fmla="*/ 187970 w 450279"/>
              <a:gd name="connsiteY78" fmla="*/ 197123 h 451172"/>
              <a:gd name="connsiteX79" fmla="*/ 179933 w 450279"/>
              <a:gd name="connsiteY79" fmla="*/ 202927 h 451172"/>
              <a:gd name="connsiteX80" fmla="*/ 169218 w 450279"/>
              <a:gd name="connsiteY80" fmla="*/ 209624 h 451172"/>
              <a:gd name="connsiteX81" fmla="*/ 158055 w 450279"/>
              <a:gd name="connsiteY81" fmla="*/ 214759 h 451172"/>
              <a:gd name="connsiteX82" fmla="*/ 148679 w 450279"/>
              <a:gd name="connsiteY82" fmla="*/ 216991 h 451172"/>
              <a:gd name="connsiteX83" fmla="*/ 136847 w 450279"/>
              <a:gd name="connsiteY83" fmla="*/ 213196 h 451172"/>
              <a:gd name="connsiteX84" fmla="*/ 128364 w 450279"/>
              <a:gd name="connsiteY84" fmla="*/ 204713 h 451172"/>
              <a:gd name="connsiteX85" fmla="*/ 121667 w 450279"/>
              <a:gd name="connsiteY85" fmla="*/ 196230 h 451172"/>
              <a:gd name="connsiteX86" fmla="*/ 115639 w 450279"/>
              <a:gd name="connsiteY86" fmla="*/ 192435 h 451172"/>
              <a:gd name="connsiteX87" fmla="*/ 109612 w 450279"/>
              <a:gd name="connsiteY87" fmla="*/ 196453 h 451172"/>
              <a:gd name="connsiteX88" fmla="*/ 103138 w 450279"/>
              <a:gd name="connsiteY88" fmla="*/ 205160 h 451172"/>
              <a:gd name="connsiteX89" fmla="*/ 94655 w 450279"/>
              <a:gd name="connsiteY89" fmla="*/ 213866 h 451172"/>
              <a:gd name="connsiteX90" fmla="*/ 82600 w 450279"/>
              <a:gd name="connsiteY90" fmla="*/ 217884 h 451172"/>
              <a:gd name="connsiteX91" fmla="*/ 115193 w 450279"/>
              <a:gd name="connsiteY91" fmla="*/ 163860 h 451172"/>
              <a:gd name="connsiteX92" fmla="*/ 126802 w 450279"/>
              <a:gd name="connsiteY92" fmla="*/ 165646 h 451172"/>
              <a:gd name="connsiteX93" fmla="*/ 135731 w 450279"/>
              <a:gd name="connsiteY93" fmla="*/ 170557 h 451172"/>
              <a:gd name="connsiteX94" fmla="*/ 143321 w 450279"/>
              <a:gd name="connsiteY94" fmla="*/ 177924 h 451172"/>
              <a:gd name="connsiteX95" fmla="*/ 150912 w 450279"/>
              <a:gd name="connsiteY95" fmla="*/ 186854 h 451172"/>
              <a:gd name="connsiteX96" fmla="*/ 158279 w 450279"/>
              <a:gd name="connsiteY96" fmla="*/ 182835 h 451172"/>
              <a:gd name="connsiteX97" fmla="*/ 165646 w 450279"/>
              <a:gd name="connsiteY97" fmla="*/ 178147 h 451172"/>
              <a:gd name="connsiteX98" fmla="*/ 160734 w 450279"/>
              <a:gd name="connsiteY98" fmla="*/ 165422 h 451172"/>
              <a:gd name="connsiteX99" fmla="*/ 158055 w 450279"/>
              <a:gd name="connsiteY99" fmla="*/ 152251 h 451172"/>
              <a:gd name="connsiteX100" fmla="*/ 162297 w 450279"/>
              <a:gd name="connsiteY100" fmla="*/ 135508 h 451172"/>
              <a:gd name="connsiteX101" fmla="*/ 174575 w 450279"/>
              <a:gd name="connsiteY101" fmla="*/ 123453 h 451172"/>
              <a:gd name="connsiteX102" fmla="*/ 187077 w 450279"/>
              <a:gd name="connsiteY102" fmla="*/ 118988 h 451172"/>
              <a:gd name="connsiteX103" fmla="*/ 200248 w 450279"/>
              <a:gd name="connsiteY103" fmla="*/ 116532 h 451172"/>
              <a:gd name="connsiteX104" fmla="*/ 200471 w 450279"/>
              <a:gd name="connsiteY104" fmla="*/ 114746 h 451172"/>
              <a:gd name="connsiteX105" fmla="*/ 200471 w 450279"/>
              <a:gd name="connsiteY105" fmla="*/ 112737 h 451172"/>
              <a:gd name="connsiteX106" fmla="*/ 200471 w 450279"/>
              <a:gd name="connsiteY106" fmla="*/ 108942 h 451172"/>
              <a:gd name="connsiteX107" fmla="*/ 200471 w 450279"/>
              <a:gd name="connsiteY107" fmla="*/ 104254 h 451172"/>
              <a:gd name="connsiteX108" fmla="*/ 200025 w 450279"/>
              <a:gd name="connsiteY108" fmla="*/ 99566 h 451172"/>
              <a:gd name="connsiteX109" fmla="*/ 184845 w 450279"/>
              <a:gd name="connsiteY109" fmla="*/ 96887 h 451172"/>
              <a:gd name="connsiteX110" fmla="*/ 164753 w 450279"/>
              <a:gd name="connsiteY110" fmla="*/ 85502 h 451172"/>
              <a:gd name="connsiteX111" fmla="*/ 156939 w 450279"/>
              <a:gd name="connsiteY111" fmla="*/ 63847 h 451172"/>
              <a:gd name="connsiteX112" fmla="*/ 159395 w 450279"/>
              <a:gd name="connsiteY112" fmla="*/ 51122 h 451172"/>
              <a:gd name="connsiteX113" fmla="*/ 163860 w 450279"/>
              <a:gd name="connsiteY113" fmla="*/ 38621 h 451172"/>
              <a:gd name="connsiteX114" fmla="*/ 156716 w 450279"/>
              <a:gd name="connsiteY114" fmla="*/ 34156 h 451172"/>
              <a:gd name="connsiteX115" fmla="*/ 149126 w 450279"/>
              <a:gd name="connsiteY115" fmla="*/ 30138 h 451172"/>
              <a:gd name="connsiteX116" fmla="*/ 141759 w 450279"/>
              <a:gd name="connsiteY116" fmla="*/ 39067 h 451172"/>
              <a:gd name="connsiteX117" fmla="*/ 134169 w 450279"/>
              <a:gd name="connsiteY117" fmla="*/ 46881 h 451172"/>
              <a:gd name="connsiteX118" fmla="*/ 125239 w 450279"/>
              <a:gd name="connsiteY118" fmla="*/ 52239 h 451172"/>
              <a:gd name="connsiteX119" fmla="*/ 113854 w 450279"/>
              <a:gd name="connsiteY119" fmla="*/ 54248 h 451172"/>
              <a:gd name="connsiteX120" fmla="*/ 102245 w 450279"/>
              <a:gd name="connsiteY120" fmla="*/ 52462 h 451172"/>
              <a:gd name="connsiteX121" fmla="*/ 93538 w 450279"/>
              <a:gd name="connsiteY121" fmla="*/ 47551 h 451172"/>
              <a:gd name="connsiteX122" fmla="*/ 86171 w 450279"/>
              <a:gd name="connsiteY122" fmla="*/ 40184 h 451172"/>
              <a:gd name="connsiteX123" fmla="*/ 78358 w 450279"/>
              <a:gd name="connsiteY123" fmla="*/ 31254 h 451172"/>
              <a:gd name="connsiteX124" fmla="*/ 70768 w 450279"/>
              <a:gd name="connsiteY124" fmla="*/ 35272 h 451172"/>
              <a:gd name="connsiteX125" fmla="*/ 63624 w 450279"/>
              <a:gd name="connsiteY125" fmla="*/ 39960 h 451172"/>
              <a:gd name="connsiteX126" fmla="*/ 68535 w 450279"/>
              <a:gd name="connsiteY126" fmla="*/ 52685 h 451172"/>
              <a:gd name="connsiteX127" fmla="*/ 71214 w 450279"/>
              <a:gd name="connsiteY127" fmla="*/ 66080 h 451172"/>
              <a:gd name="connsiteX128" fmla="*/ 70098 w 450279"/>
              <a:gd name="connsiteY128" fmla="*/ 74340 h 451172"/>
              <a:gd name="connsiteX129" fmla="*/ 66749 w 450279"/>
              <a:gd name="connsiteY129" fmla="*/ 82153 h 451172"/>
              <a:gd name="connsiteX130" fmla="*/ 59382 w 450279"/>
              <a:gd name="connsiteY130" fmla="*/ 91306 h 451172"/>
              <a:gd name="connsiteX131" fmla="*/ 50676 w 450279"/>
              <a:gd name="connsiteY131" fmla="*/ 96441 h 451172"/>
              <a:gd name="connsiteX132" fmla="*/ 40630 w 450279"/>
              <a:gd name="connsiteY132" fmla="*/ 99120 h 451172"/>
              <a:gd name="connsiteX133" fmla="*/ 29021 w 450279"/>
              <a:gd name="connsiteY133" fmla="*/ 101575 h 451172"/>
              <a:gd name="connsiteX134" fmla="*/ 28798 w 450279"/>
              <a:gd name="connsiteY134" fmla="*/ 103584 h 451172"/>
              <a:gd name="connsiteX135" fmla="*/ 28798 w 450279"/>
              <a:gd name="connsiteY135" fmla="*/ 105817 h 451172"/>
              <a:gd name="connsiteX136" fmla="*/ 28798 w 450279"/>
              <a:gd name="connsiteY136" fmla="*/ 114300 h 451172"/>
              <a:gd name="connsiteX137" fmla="*/ 29021 w 450279"/>
              <a:gd name="connsiteY137" fmla="*/ 118542 h 451172"/>
              <a:gd name="connsiteX138" fmla="*/ 44202 w 450279"/>
              <a:gd name="connsiteY138" fmla="*/ 120997 h 451172"/>
              <a:gd name="connsiteX139" fmla="*/ 55141 w 450279"/>
              <a:gd name="connsiteY139" fmla="*/ 124792 h 451172"/>
              <a:gd name="connsiteX140" fmla="*/ 64071 w 450279"/>
              <a:gd name="connsiteY140" fmla="*/ 132383 h 451172"/>
              <a:gd name="connsiteX141" fmla="*/ 70098 w 450279"/>
              <a:gd name="connsiteY141" fmla="*/ 142205 h 451172"/>
              <a:gd name="connsiteX142" fmla="*/ 72330 w 450279"/>
              <a:gd name="connsiteY142" fmla="*/ 153591 h 451172"/>
              <a:gd name="connsiteX143" fmla="*/ 70098 w 450279"/>
              <a:gd name="connsiteY143" fmla="*/ 166539 h 451172"/>
              <a:gd name="connsiteX144" fmla="*/ 65410 w 450279"/>
              <a:gd name="connsiteY144" fmla="*/ 179263 h 451172"/>
              <a:gd name="connsiteX145" fmla="*/ 72554 w 450279"/>
              <a:gd name="connsiteY145" fmla="*/ 183728 h 451172"/>
              <a:gd name="connsiteX146" fmla="*/ 80144 w 450279"/>
              <a:gd name="connsiteY146" fmla="*/ 187747 h 451172"/>
              <a:gd name="connsiteX147" fmla="*/ 87288 w 450279"/>
              <a:gd name="connsiteY147" fmla="*/ 178817 h 451172"/>
              <a:gd name="connsiteX148" fmla="*/ 94878 w 450279"/>
              <a:gd name="connsiteY148" fmla="*/ 171227 h 451172"/>
              <a:gd name="connsiteX149" fmla="*/ 103584 w 450279"/>
              <a:gd name="connsiteY149" fmla="*/ 165869 h 451172"/>
              <a:gd name="connsiteX150" fmla="*/ 115193 w 450279"/>
              <a:gd name="connsiteY150" fmla="*/ 163860 h 451172"/>
              <a:gd name="connsiteX151" fmla="*/ 87511 w 450279"/>
              <a:gd name="connsiteY151" fmla="*/ 108942 h 451172"/>
              <a:gd name="connsiteX152" fmla="*/ 89520 w 450279"/>
              <a:gd name="connsiteY152" fmla="*/ 98450 h 451172"/>
              <a:gd name="connsiteX153" fmla="*/ 95324 w 450279"/>
              <a:gd name="connsiteY153" fmla="*/ 89967 h 451172"/>
              <a:gd name="connsiteX154" fmla="*/ 104031 w 450279"/>
              <a:gd name="connsiteY154" fmla="*/ 84386 h 451172"/>
              <a:gd name="connsiteX155" fmla="*/ 114523 w 450279"/>
              <a:gd name="connsiteY155" fmla="*/ 82153 h 451172"/>
              <a:gd name="connsiteX156" fmla="*/ 125016 w 450279"/>
              <a:gd name="connsiteY156" fmla="*/ 84162 h 451172"/>
              <a:gd name="connsiteX157" fmla="*/ 133499 w 450279"/>
              <a:gd name="connsiteY157" fmla="*/ 89967 h 451172"/>
              <a:gd name="connsiteX158" fmla="*/ 139303 w 450279"/>
              <a:gd name="connsiteY158" fmla="*/ 98450 h 451172"/>
              <a:gd name="connsiteX159" fmla="*/ 141536 w 450279"/>
              <a:gd name="connsiteY159" fmla="*/ 108942 h 451172"/>
              <a:gd name="connsiteX160" fmla="*/ 139526 w 450279"/>
              <a:gd name="connsiteY160" fmla="*/ 119435 h 451172"/>
              <a:gd name="connsiteX161" fmla="*/ 133722 w 450279"/>
              <a:gd name="connsiteY161" fmla="*/ 127918 h 451172"/>
              <a:gd name="connsiteX162" fmla="*/ 125016 w 450279"/>
              <a:gd name="connsiteY162" fmla="*/ 133722 h 451172"/>
              <a:gd name="connsiteX163" fmla="*/ 114523 w 450279"/>
              <a:gd name="connsiteY163" fmla="*/ 135955 h 451172"/>
              <a:gd name="connsiteX164" fmla="*/ 103808 w 450279"/>
              <a:gd name="connsiteY164" fmla="*/ 133945 h 451172"/>
              <a:gd name="connsiteX165" fmla="*/ 95324 w 450279"/>
              <a:gd name="connsiteY165" fmla="*/ 128141 h 451172"/>
              <a:gd name="connsiteX166" fmla="*/ 89743 w 450279"/>
              <a:gd name="connsiteY166" fmla="*/ 119658 h 451172"/>
              <a:gd name="connsiteX167" fmla="*/ 87511 w 450279"/>
              <a:gd name="connsiteY167" fmla="*/ 108942 h 451172"/>
              <a:gd name="connsiteX168" fmla="*/ 258291 w 450279"/>
              <a:gd name="connsiteY168" fmla="*/ 396255 h 451172"/>
              <a:gd name="connsiteX169" fmla="*/ 250255 w 450279"/>
              <a:gd name="connsiteY169" fmla="*/ 397818 h 451172"/>
              <a:gd name="connsiteX170" fmla="*/ 241102 w 450279"/>
              <a:gd name="connsiteY170" fmla="*/ 401613 h 451172"/>
              <a:gd name="connsiteX171" fmla="*/ 231725 w 450279"/>
              <a:gd name="connsiteY171" fmla="*/ 405408 h 451172"/>
              <a:gd name="connsiteX172" fmla="*/ 222349 w 450279"/>
              <a:gd name="connsiteY172" fmla="*/ 407194 h 451172"/>
              <a:gd name="connsiteX173" fmla="*/ 212527 w 450279"/>
              <a:gd name="connsiteY173" fmla="*/ 404961 h 451172"/>
              <a:gd name="connsiteX174" fmla="*/ 204490 w 450279"/>
              <a:gd name="connsiteY174" fmla="*/ 398711 h 451172"/>
              <a:gd name="connsiteX175" fmla="*/ 197346 w 450279"/>
              <a:gd name="connsiteY175" fmla="*/ 388888 h 451172"/>
              <a:gd name="connsiteX176" fmla="*/ 189309 w 450279"/>
              <a:gd name="connsiteY176" fmla="*/ 375940 h 451172"/>
              <a:gd name="connsiteX177" fmla="*/ 183059 w 450279"/>
              <a:gd name="connsiteY177" fmla="*/ 362322 h 451172"/>
              <a:gd name="connsiteX178" fmla="*/ 180380 w 450279"/>
              <a:gd name="connsiteY178" fmla="*/ 350713 h 451172"/>
              <a:gd name="connsiteX179" fmla="*/ 182612 w 450279"/>
              <a:gd name="connsiteY179" fmla="*/ 340668 h 451172"/>
              <a:gd name="connsiteX180" fmla="*/ 188640 w 450279"/>
              <a:gd name="connsiteY180" fmla="*/ 332854 h 451172"/>
              <a:gd name="connsiteX181" fmla="*/ 196230 w 450279"/>
              <a:gd name="connsiteY181" fmla="*/ 326603 h 451172"/>
              <a:gd name="connsiteX182" fmla="*/ 204043 w 450279"/>
              <a:gd name="connsiteY182" fmla="*/ 321022 h 451172"/>
              <a:gd name="connsiteX183" fmla="*/ 209848 w 450279"/>
              <a:gd name="connsiteY183" fmla="*/ 315218 h 451172"/>
              <a:gd name="connsiteX184" fmla="*/ 212303 w 450279"/>
              <a:gd name="connsiteY184" fmla="*/ 308521 h 451172"/>
              <a:gd name="connsiteX185" fmla="*/ 207392 w 450279"/>
              <a:gd name="connsiteY185" fmla="*/ 298921 h 451172"/>
              <a:gd name="connsiteX186" fmla="*/ 196230 w 450279"/>
              <a:gd name="connsiteY186" fmla="*/ 290215 h 451172"/>
              <a:gd name="connsiteX187" fmla="*/ 185291 w 450279"/>
              <a:gd name="connsiteY187" fmla="*/ 280169 h 451172"/>
              <a:gd name="connsiteX188" fmla="*/ 180156 w 450279"/>
              <a:gd name="connsiteY188" fmla="*/ 265881 h 451172"/>
              <a:gd name="connsiteX189" fmla="*/ 182835 w 450279"/>
              <a:gd name="connsiteY189" fmla="*/ 254496 h 451172"/>
              <a:gd name="connsiteX190" fmla="*/ 189533 w 450279"/>
              <a:gd name="connsiteY190" fmla="*/ 240878 h 451172"/>
              <a:gd name="connsiteX191" fmla="*/ 197569 w 450279"/>
              <a:gd name="connsiteY191" fmla="*/ 227707 h 451172"/>
              <a:gd name="connsiteX192" fmla="*/ 204936 w 450279"/>
              <a:gd name="connsiteY192" fmla="*/ 217884 h 451172"/>
              <a:gd name="connsiteX193" fmla="*/ 212973 w 450279"/>
              <a:gd name="connsiteY193" fmla="*/ 211857 h 451172"/>
              <a:gd name="connsiteX194" fmla="*/ 222796 w 450279"/>
              <a:gd name="connsiteY194" fmla="*/ 209624 h 451172"/>
              <a:gd name="connsiteX195" fmla="*/ 231949 w 450279"/>
              <a:gd name="connsiteY195" fmla="*/ 211410 h 451172"/>
              <a:gd name="connsiteX196" fmla="*/ 241325 w 450279"/>
              <a:gd name="connsiteY196" fmla="*/ 215205 h 451172"/>
              <a:gd name="connsiteX197" fmla="*/ 250255 w 450279"/>
              <a:gd name="connsiteY197" fmla="*/ 219001 h 451172"/>
              <a:gd name="connsiteX198" fmla="*/ 258291 w 450279"/>
              <a:gd name="connsiteY198" fmla="*/ 220787 h 451172"/>
              <a:gd name="connsiteX199" fmla="*/ 265212 w 450279"/>
              <a:gd name="connsiteY199" fmla="*/ 218554 h 451172"/>
              <a:gd name="connsiteX200" fmla="*/ 268784 w 450279"/>
              <a:gd name="connsiteY200" fmla="*/ 212303 h 451172"/>
              <a:gd name="connsiteX201" fmla="*/ 273695 w 450279"/>
              <a:gd name="connsiteY201" fmla="*/ 185961 h 451172"/>
              <a:gd name="connsiteX202" fmla="*/ 279053 w 450279"/>
              <a:gd name="connsiteY202" fmla="*/ 174575 h 451172"/>
              <a:gd name="connsiteX203" fmla="*/ 288652 w 450279"/>
              <a:gd name="connsiteY203" fmla="*/ 168771 h 451172"/>
              <a:gd name="connsiteX204" fmla="*/ 300484 w 450279"/>
              <a:gd name="connsiteY204" fmla="*/ 166315 h 451172"/>
              <a:gd name="connsiteX205" fmla="*/ 312986 w 450279"/>
              <a:gd name="connsiteY205" fmla="*/ 165869 h 451172"/>
              <a:gd name="connsiteX206" fmla="*/ 323924 w 450279"/>
              <a:gd name="connsiteY206" fmla="*/ 165869 h 451172"/>
              <a:gd name="connsiteX207" fmla="*/ 333970 w 450279"/>
              <a:gd name="connsiteY207" fmla="*/ 166985 h 451172"/>
              <a:gd name="connsiteX208" fmla="*/ 343570 w 450279"/>
              <a:gd name="connsiteY208" fmla="*/ 169441 h 451172"/>
              <a:gd name="connsiteX209" fmla="*/ 350937 w 450279"/>
              <a:gd name="connsiteY209" fmla="*/ 174129 h 451172"/>
              <a:gd name="connsiteX210" fmla="*/ 357188 w 450279"/>
              <a:gd name="connsiteY210" fmla="*/ 186854 h 451172"/>
              <a:gd name="connsiteX211" fmla="*/ 359643 w 450279"/>
              <a:gd name="connsiteY211" fmla="*/ 202257 h 451172"/>
              <a:gd name="connsiteX212" fmla="*/ 362769 w 450279"/>
              <a:gd name="connsiteY212" fmla="*/ 215205 h 451172"/>
              <a:gd name="connsiteX213" fmla="*/ 370805 w 450279"/>
              <a:gd name="connsiteY213" fmla="*/ 220787 h 451172"/>
              <a:gd name="connsiteX214" fmla="*/ 379958 w 450279"/>
              <a:gd name="connsiteY214" fmla="*/ 219224 h 451172"/>
              <a:gd name="connsiteX215" fmla="*/ 389334 w 450279"/>
              <a:gd name="connsiteY215" fmla="*/ 215429 h 451172"/>
              <a:gd name="connsiteX216" fmla="*/ 398711 w 450279"/>
              <a:gd name="connsiteY216" fmla="*/ 211634 h 451172"/>
              <a:gd name="connsiteX217" fmla="*/ 408087 w 450279"/>
              <a:gd name="connsiteY217" fmla="*/ 209848 h 451172"/>
              <a:gd name="connsiteX218" fmla="*/ 417909 w 450279"/>
              <a:gd name="connsiteY218" fmla="*/ 211857 h 451172"/>
              <a:gd name="connsiteX219" fmla="*/ 425946 w 450279"/>
              <a:gd name="connsiteY219" fmla="*/ 218108 h 451172"/>
              <a:gd name="connsiteX220" fmla="*/ 433090 w 450279"/>
              <a:gd name="connsiteY220" fmla="*/ 227930 h 451172"/>
              <a:gd name="connsiteX221" fmla="*/ 440903 w 450279"/>
              <a:gd name="connsiteY221" fmla="*/ 241102 h 451172"/>
              <a:gd name="connsiteX222" fmla="*/ 447377 w 450279"/>
              <a:gd name="connsiteY222" fmla="*/ 254719 h 451172"/>
              <a:gd name="connsiteX223" fmla="*/ 450056 w 450279"/>
              <a:gd name="connsiteY223" fmla="*/ 266105 h 451172"/>
              <a:gd name="connsiteX224" fmla="*/ 447824 w 450279"/>
              <a:gd name="connsiteY224" fmla="*/ 276151 h 451172"/>
              <a:gd name="connsiteX225" fmla="*/ 441796 w 450279"/>
              <a:gd name="connsiteY225" fmla="*/ 283964 h 451172"/>
              <a:gd name="connsiteX226" fmla="*/ 434206 w 450279"/>
              <a:gd name="connsiteY226" fmla="*/ 290438 h 451172"/>
              <a:gd name="connsiteX227" fmla="*/ 426393 w 450279"/>
              <a:gd name="connsiteY227" fmla="*/ 296019 h 451172"/>
              <a:gd name="connsiteX228" fmla="*/ 420588 w 450279"/>
              <a:gd name="connsiteY228" fmla="*/ 301823 h 451172"/>
              <a:gd name="connsiteX229" fmla="*/ 418133 w 450279"/>
              <a:gd name="connsiteY229" fmla="*/ 308521 h 451172"/>
              <a:gd name="connsiteX230" fmla="*/ 423044 w 450279"/>
              <a:gd name="connsiteY230" fmla="*/ 318120 h 451172"/>
              <a:gd name="connsiteX231" fmla="*/ 434206 w 450279"/>
              <a:gd name="connsiteY231" fmla="*/ 326827 h 451172"/>
              <a:gd name="connsiteX232" fmla="*/ 445145 w 450279"/>
              <a:gd name="connsiteY232" fmla="*/ 336872 h 451172"/>
              <a:gd name="connsiteX233" fmla="*/ 450280 w 450279"/>
              <a:gd name="connsiteY233" fmla="*/ 351160 h 451172"/>
              <a:gd name="connsiteX234" fmla="*/ 447601 w 450279"/>
              <a:gd name="connsiteY234" fmla="*/ 362545 h 451172"/>
              <a:gd name="connsiteX235" fmla="*/ 440903 w 450279"/>
              <a:gd name="connsiteY235" fmla="*/ 376163 h 451172"/>
              <a:gd name="connsiteX236" fmla="*/ 432867 w 450279"/>
              <a:gd name="connsiteY236" fmla="*/ 389334 h 451172"/>
              <a:gd name="connsiteX237" fmla="*/ 425500 w 450279"/>
              <a:gd name="connsiteY237" fmla="*/ 399157 h 451172"/>
              <a:gd name="connsiteX238" fmla="*/ 407863 w 450279"/>
              <a:gd name="connsiteY238" fmla="*/ 407194 h 451172"/>
              <a:gd name="connsiteX239" fmla="*/ 398487 w 450279"/>
              <a:gd name="connsiteY239" fmla="*/ 405631 h 451172"/>
              <a:gd name="connsiteX240" fmla="*/ 388888 w 450279"/>
              <a:gd name="connsiteY240" fmla="*/ 401836 h 451172"/>
              <a:gd name="connsiteX241" fmla="*/ 379958 w 450279"/>
              <a:gd name="connsiteY241" fmla="*/ 398041 h 451172"/>
              <a:gd name="connsiteX242" fmla="*/ 371922 w 450279"/>
              <a:gd name="connsiteY242" fmla="*/ 396255 h 451172"/>
              <a:gd name="connsiteX243" fmla="*/ 365447 w 450279"/>
              <a:gd name="connsiteY243" fmla="*/ 398264 h 451172"/>
              <a:gd name="connsiteX244" fmla="*/ 361876 w 450279"/>
              <a:gd name="connsiteY244" fmla="*/ 403622 h 451172"/>
              <a:gd name="connsiteX245" fmla="*/ 360313 w 450279"/>
              <a:gd name="connsiteY245" fmla="*/ 410542 h 451172"/>
              <a:gd name="connsiteX246" fmla="*/ 359420 w 450279"/>
              <a:gd name="connsiteY246" fmla="*/ 417240 h 451172"/>
              <a:gd name="connsiteX247" fmla="*/ 356964 w 450279"/>
              <a:gd name="connsiteY247" fmla="*/ 430857 h 451172"/>
              <a:gd name="connsiteX248" fmla="*/ 351383 w 450279"/>
              <a:gd name="connsiteY248" fmla="*/ 442466 h 451172"/>
              <a:gd name="connsiteX249" fmla="*/ 340891 w 450279"/>
              <a:gd name="connsiteY249" fmla="*/ 448494 h 451172"/>
              <a:gd name="connsiteX250" fmla="*/ 328166 w 450279"/>
              <a:gd name="connsiteY250" fmla="*/ 450726 h 451172"/>
              <a:gd name="connsiteX251" fmla="*/ 315218 w 450279"/>
              <a:gd name="connsiteY251" fmla="*/ 451172 h 451172"/>
              <a:gd name="connsiteX252" fmla="*/ 306288 w 450279"/>
              <a:gd name="connsiteY252" fmla="*/ 451172 h 451172"/>
              <a:gd name="connsiteX253" fmla="*/ 296466 w 450279"/>
              <a:gd name="connsiteY253" fmla="*/ 450056 h 451172"/>
              <a:gd name="connsiteX254" fmla="*/ 286866 w 450279"/>
              <a:gd name="connsiteY254" fmla="*/ 447601 h 451172"/>
              <a:gd name="connsiteX255" fmla="*/ 279499 w 450279"/>
              <a:gd name="connsiteY255" fmla="*/ 442913 h 451172"/>
              <a:gd name="connsiteX256" fmla="*/ 274588 w 450279"/>
              <a:gd name="connsiteY256" fmla="*/ 434876 h 451172"/>
              <a:gd name="connsiteX257" fmla="*/ 272355 w 450279"/>
              <a:gd name="connsiteY257" fmla="*/ 424830 h 451172"/>
              <a:gd name="connsiteX258" fmla="*/ 271016 w 450279"/>
              <a:gd name="connsiteY258" fmla="*/ 414561 h 451172"/>
              <a:gd name="connsiteX259" fmla="*/ 269230 w 450279"/>
              <a:gd name="connsiteY259" fmla="*/ 405408 h 451172"/>
              <a:gd name="connsiteX260" fmla="*/ 265435 w 450279"/>
              <a:gd name="connsiteY260" fmla="*/ 398934 h 451172"/>
              <a:gd name="connsiteX261" fmla="*/ 258291 w 450279"/>
              <a:gd name="connsiteY261" fmla="*/ 396255 h 451172"/>
              <a:gd name="connsiteX262" fmla="*/ 371922 w 450279"/>
              <a:gd name="connsiteY262" fmla="*/ 367680 h 451172"/>
              <a:gd name="connsiteX263" fmla="*/ 389334 w 450279"/>
              <a:gd name="connsiteY263" fmla="*/ 371029 h 451172"/>
              <a:gd name="connsiteX264" fmla="*/ 405854 w 450279"/>
              <a:gd name="connsiteY264" fmla="*/ 377726 h 451172"/>
              <a:gd name="connsiteX265" fmla="*/ 420588 w 450279"/>
              <a:gd name="connsiteY265" fmla="*/ 352946 h 451172"/>
              <a:gd name="connsiteX266" fmla="*/ 409203 w 450279"/>
              <a:gd name="connsiteY266" fmla="*/ 343570 h 451172"/>
              <a:gd name="connsiteX267" fmla="*/ 399380 w 450279"/>
              <a:gd name="connsiteY267" fmla="*/ 334194 h 451172"/>
              <a:gd name="connsiteX268" fmla="*/ 392237 w 450279"/>
              <a:gd name="connsiteY268" fmla="*/ 323031 h 451172"/>
              <a:gd name="connsiteX269" fmla="*/ 389558 w 450279"/>
              <a:gd name="connsiteY269" fmla="*/ 308521 h 451172"/>
              <a:gd name="connsiteX270" fmla="*/ 392013 w 450279"/>
              <a:gd name="connsiteY270" fmla="*/ 294233 h 451172"/>
              <a:gd name="connsiteX271" fmla="*/ 398934 w 450279"/>
              <a:gd name="connsiteY271" fmla="*/ 283071 h 451172"/>
              <a:gd name="connsiteX272" fmla="*/ 408980 w 450279"/>
              <a:gd name="connsiteY272" fmla="*/ 273918 h 451172"/>
              <a:gd name="connsiteX273" fmla="*/ 420588 w 450279"/>
              <a:gd name="connsiteY273" fmla="*/ 264542 h 451172"/>
              <a:gd name="connsiteX274" fmla="*/ 414338 w 450279"/>
              <a:gd name="connsiteY274" fmla="*/ 251594 h 451172"/>
              <a:gd name="connsiteX275" fmla="*/ 406301 w 450279"/>
              <a:gd name="connsiteY275" fmla="*/ 239539 h 451172"/>
              <a:gd name="connsiteX276" fmla="*/ 389558 w 450279"/>
              <a:gd name="connsiteY276" fmla="*/ 245790 h 451172"/>
              <a:gd name="connsiteX277" fmla="*/ 371922 w 450279"/>
              <a:gd name="connsiteY277" fmla="*/ 249362 h 451172"/>
              <a:gd name="connsiteX278" fmla="*/ 358527 w 450279"/>
              <a:gd name="connsiteY278" fmla="*/ 247129 h 451172"/>
              <a:gd name="connsiteX279" fmla="*/ 346918 w 450279"/>
              <a:gd name="connsiteY279" fmla="*/ 240432 h 451172"/>
              <a:gd name="connsiteX280" fmla="*/ 338435 w 450279"/>
              <a:gd name="connsiteY280" fmla="*/ 230386 h 451172"/>
              <a:gd name="connsiteX281" fmla="*/ 333524 w 450279"/>
              <a:gd name="connsiteY281" fmla="*/ 217438 h 451172"/>
              <a:gd name="connsiteX282" fmla="*/ 329729 w 450279"/>
              <a:gd name="connsiteY282" fmla="*/ 195337 h 451172"/>
              <a:gd name="connsiteX283" fmla="*/ 323701 w 450279"/>
              <a:gd name="connsiteY283" fmla="*/ 194667 h 451172"/>
              <a:gd name="connsiteX284" fmla="*/ 317674 w 450279"/>
              <a:gd name="connsiteY284" fmla="*/ 194444 h 451172"/>
              <a:gd name="connsiteX285" fmla="*/ 309190 w 450279"/>
              <a:gd name="connsiteY285" fmla="*/ 194444 h 451172"/>
              <a:gd name="connsiteX286" fmla="*/ 300930 w 450279"/>
              <a:gd name="connsiteY286" fmla="*/ 195337 h 451172"/>
              <a:gd name="connsiteX287" fmla="*/ 296912 w 450279"/>
              <a:gd name="connsiteY287" fmla="*/ 217438 h 451172"/>
              <a:gd name="connsiteX288" fmla="*/ 292224 w 450279"/>
              <a:gd name="connsiteY288" fmla="*/ 230386 h 451172"/>
              <a:gd name="connsiteX289" fmla="*/ 283518 w 450279"/>
              <a:gd name="connsiteY289" fmla="*/ 240432 h 451172"/>
              <a:gd name="connsiteX290" fmla="*/ 271909 w 450279"/>
              <a:gd name="connsiteY290" fmla="*/ 246906 h 451172"/>
              <a:gd name="connsiteX291" fmla="*/ 258291 w 450279"/>
              <a:gd name="connsiteY291" fmla="*/ 249362 h 451172"/>
              <a:gd name="connsiteX292" fmla="*/ 240878 w 450279"/>
              <a:gd name="connsiteY292" fmla="*/ 245790 h 451172"/>
              <a:gd name="connsiteX293" fmla="*/ 224358 w 450279"/>
              <a:gd name="connsiteY293" fmla="*/ 239316 h 451172"/>
              <a:gd name="connsiteX294" fmla="*/ 209848 w 450279"/>
              <a:gd name="connsiteY294" fmla="*/ 264096 h 451172"/>
              <a:gd name="connsiteX295" fmla="*/ 221233 w 450279"/>
              <a:gd name="connsiteY295" fmla="*/ 273472 h 451172"/>
              <a:gd name="connsiteX296" fmla="*/ 231056 w 450279"/>
              <a:gd name="connsiteY296" fmla="*/ 282848 h 451172"/>
              <a:gd name="connsiteX297" fmla="*/ 238199 w 450279"/>
              <a:gd name="connsiteY297" fmla="*/ 294010 h 451172"/>
              <a:gd name="connsiteX298" fmla="*/ 240878 w 450279"/>
              <a:gd name="connsiteY298" fmla="*/ 308521 h 451172"/>
              <a:gd name="connsiteX299" fmla="*/ 238423 w 450279"/>
              <a:gd name="connsiteY299" fmla="*/ 323031 h 451172"/>
              <a:gd name="connsiteX300" fmla="*/ 231502 w 450279"/>
              <a:gd name="connsiteY300" fmla="*/ 333970 h 451172"/>
              <a:gd name="connsiteX301" fmla="*/ 221456 w 450279"/>
              <a:gd name="connsiteY301" fmla="*/ 343123 h 451172"/>
              <a:gd name="connsiteX302" fmla="*/ 209848 w 450279"/>
              <a:gd name="connsiteY302" fmla="*/ 352499 h 451172"/>
              <a:gd name="connsiteX303" fmla="*/ 216322 w 450279"/>
              <a:gd name="connsiteY303" fmla="*/ 365447 h 451172"/>
              <a:gd name="connsiteX304" fmla="*/ 224135 w 450279"/>
              <a:gd name="connsiteY304" fmla="*/ 377503 h 451172"/>
              <a:gd name="connsiteX305" fmla="*/ 240878 w 450279"/>
              <a:gd name="connsiteY305" fmla="*/ 371029 h 451172"/>
              <a:gd name="connsiteX306" fmla="*/ 258738 w 450279"/>
              <a:gd name="connsiteY306" fmla="*/ 367457 h 451172"/>
              <a:gd name="connsiteX307" fmla="*/ 272132 w 450279"/>
              <a:gd name="connsiteY307" fmla="*/ 369912 h 451172"/>
              <a:gd name="connsiteX308" fmla="*/ 283741 w 450279"/>
              <a:gd name="connsiteY308" fmla="*/ 376610 h 451172"/>
              <a:gd name="connsiteX309" fmla="*/ 292224 w 450279"/>
              <a:gd name="connsiteY309" fmla="*/ 386655 h 451172"/>
              <a:gd name="connsiteX310" fmla="*/ 296912 w 450279"/>
              <a:gd name="connsiteY310" fmla="*/ 399604 h 451172"/>
              <a:gd name="connsiteX311" fmla="*/ 300707 w 450279"/>
              <a:gd name="connsiteY311" fmla="*/ 421705 h 451172"/>
              <a:gd name="connsiteX312" fmla="*/ 307851 w 450279"/>
              <a:gd name="connsiteY312" fmla="*/ 422374 h 451172"/>
              <a:gd name="connsiteX313" fmla="*/ 314995 w 450279"/>
              <a:gd name="connsiteY313" fmla="*/ 422597 h 451172"/>
              <a:gd name="connsiteX314" fmla="*/ 322138 w 450279"/>
              <a:gd name="connsiteY314" fmla="*/ 422374 h 451172"/>
              <a:gd name="connsiteX315" fmla="*/ 329505 w 450279"/>
              <a:gd name="connsiteY315" fmla="*/ 421705 h 451172"/>
              <a:gd name="connsiteX316" fmla="*/ 331738 w 450279"/>
              <a:gd name="connsiteY316" fmla="*/ 408533 h 451172"/>
              <a:gd name="connsiteX317" fmla="*/ 334417 w 450279"/>
              <a:gd name="connsiteY317" fmla="*/ 396032 h 451172"/>
              <a:gd name="connsiteX318" fmla="*/ 339775 w 450279"/>
              <a:gd name="connsiteY318" fmla="*/ 384646 h 451172"/>
              <a:gd name="connsiteX319" fmla="*/ 349374 w 450279"/>
              <a:gd name="connsiteY319" fmla="*/ 374824 h 451172"/>
              <a:gd name="connsiteX320" fmla="*/ 360090 w 450279"/>
              <a:gd name="connsiteY320" fmla="*/ 369466 h 451172"/>
              <a:gd name="connsiteX321" fmla="*/ 371922 w 450279"/>
              <a:gd name="connsiteY321" fmla="*/ 367680 h 451172"/>
              <a:gd name="connsiteX322" fmla="*/ 265881 w 450279"/>
              <a:gd name="connsiteY322" fmla="*/ 308521 h 451172"/>
              <a:gd name="connsiteX323" fmla="*/ 269677 w 450279"/>
              <a:gd name="connsiteY323" fmla="*/ 289545 h 451172"/>
              <a:gd name="connsiteX324" fmla="*/ 280392 w 450279"/>
              <a:gd name="connsiteY324" fmla="*/ 273695 h 451172"/>
              <a:gd name="connsiteX325" fmla="*/ 296019 w 450279"/>
              <a:gd name="connsiteY325" fmla="*/ 263203 h 451172"/>
              <a:gd name="connsiteX326" fmla="*/ 314995 w 450279"/>
              <a:gd name="connsiteY326" fmla="*/ 259184 h 451172"/>
              <a:gd name="connsiteX327" fmla="*/ 334194 w 450279"/>
              <a:gd name="connsiteY327" fmla="*/ 262979 h 451172"/>
              <a:gd name="connsiteX328" fmla="*/ 350044 w 450279"/>
              <a:gd name="connsiteY328" fmla="*/ 273472 h 451172"/>
              <a:gd name="connsiteX329" fmla="*/ 360536 w 450279"/>
              <a:gd name="connsiteY329" fmla="*/ 289099 h 451172"/>
              <a:gd name="connsiteX330" fmla="*/ 364555 w 450279"/>
              <a:gd name="connsiteY330" fmla="*/ 308521 h 451172"/>
              <a:gd name="connsiteX331" fmla="*/ 360759 w 450279"/>
              <a:gd name="connsiteY331" fmla="*/ 327496 h 451172"/>
              <a:gd name="connsiteX332" fmla="*/ 350044 w 450279"/>
              <a:gd name="connsiteY332" fmla="*/ 343347 h 451172"/>
              <a:gd name="connsiteX333" fmla="*/ 334417 w 450279"/>
              <a:gd name="connsiteY333" fmla="*/ 353839 h 451172"/>
              <a:gd name="connsiteX334" fmla="*/ 315218 w 450279"/>
              <a:gd name="connsiteY334" fmla="*/ 357857 h 451172"/>
              <a:gd name="connsiteX335" fmla="*/ 296242 w 450279"/>
              <a:gd name="connsiteY335" fmla="*/ 354062 h 451172"/>
              <a:gd name="connsiteX336" fmla="*/ 280392 w 450279"/>
              <a:gd name="connsiteY336" fmla="*/ 343347 h 451172"/>
              <a:gd name="connsiteX337" fmla="*/ 269900 w 450279"/>
              <a:gd name="connsiteY337" fmla="*/ 327720 h 451172"/>
              <a:gd name="connsiteX338" fmla="*/ 265881 w 450279"/>
              <a:gd name="connsiteY338" fmla="*/ 308521 h 451172"/>
              <a:gd name="connsiteX339" fmla="*/ 315218 w 450279"/>
              <a:gd name="connsiteY339" fmla="*/ 329059 h 451172"/>
              <a:gd name="connsiteX340" fmla="*/ 329952 w 450279"/>
              <a:gd name="connsiteY340" fmla="*/ 323255 h 451172"/>
              <a:gd name="connsiteX341" fmla="*/ 335980 w 450279"/>
              <a:gd name="connsiteY341" fmla="*/ 308521 h 451172"/>
              <a:gd name="connsiteX342" fmla="*/ 334417 w 450279"/>
              <a:gd name="connsiteY342" fmla="*/ 300484 h 451172"/>
              <a:gd name="connsiteX343" fmla="*/ 329952 w 450279"/>
              <a:gd name="connsiteY343" fmla="*/ 293787 h 451172"/>
              <a:gd name="connsiteX344" fmla="*/ 323255 w 450279"/>
              <a:gd name="connsiteY344" fmla="*/ 289322 h 451172"/>
              <a:gd name="connsiteX345" fmla="*/ 315218 w 450279"/>
              <a:gd name="connsiteY345" fmla="*/ 287759 h 451172"/>
              <a:gd name="connsiteX346" fmla="*/ 307181 w 450279"/>
              <a:gd name="connsiteY346" fmla="*/ 289322 h 451172"/>
              <a:gd name="connsiteX347" fmla="*/ 300707 w 450279"/>
              <a:gd name="connsiteY347" fmla="*/ 293787 h 451172"/>
              <a:gd name="connsiteX348" fmla="*/ 296242 w 450279"/>
              <a:gd name="connsiteY348" fmla="*/ 300484 h 451172"/>
              <a:gd name="connsiteX349" fmla="*/ 294456 w 450279"/>
              <a:gd name="connsiteY349" fmla="*/ 308521 h 451172"/>
              <a:gd name="connsiteX350" fmla="*/ 296019 w 450279"/>
              <a:gd name="connsiteY350" fmla="*/ 316557 h 451172"/>
              <a:gd name="connsiteX351" fmla="*/ 300484 w 450279"/>
              <a:gd name="connsiteY351" fmla="*/ 323031 h 451172"/>
              <a:gd name="connsiteX352" fmla="*/ 307181 w 450279"/>
              <a:gd name="connsiteY352" fmla="*/ 327496 h 451172"/>
              <a:gd name="connsiteX353" fmla="*/ 315218 w 450279"/>
              <a:gd name="connsiteY353" fmla="*/ 329059 h 45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Lst>
            <a:rect l="l" t="t" r="r" b="b"/>
            <a:pathLst>
              <a:path w="450279" h="451172">
                <a:moveTo>
                  <a:pt x="82600" y="217884"/>
                </a:moveTo>
                <a:cubicBezTo>
                  <a:pt x="79921" y="217884"/>
                  <a:pt x="76721" y="217215"/>
                  <a:pt x="73000" y="215875"/>
                </a:cubicBezTo>
                <a:cubicBezTo>
                  <a:pt x="69279" y="214536"/>
                  <a:pt x="65559" y="212824"/>
                  <a:pt x="61838" y="210741"/>
                </a:cubicBezTo>
                <a:cubicBezTo>
                  <a:pt x="58117" y="208657"/>
                  <a:pt x="54471" y="206499"/>
                  <a:pt x="50899" y="204267"/>
                </a:cubicBezTo>
                <a:cubicBezTo>
                  <a:pt x="47327" y="202034"/>
                  <a:pt x="44648" y="200025"/>
                  <a:pt x="42863" y="198239"/>
                </a:cubicBezTo>
                <a:cubicBezTo>
                  <a:pt x="40481" y="196155"/>
                  <a:pt x="38621" y="193700"/>
                  <a:pt x="37281" y="190872"/>
                </a:cubicBezTo>
                <a:cubicBezTo>
                  <a:pt x="35942" y="188044"/>
                  <a:pt x="35272" y="185068"/>
                  <a:pt x="35272" y="181942"/>
                </a:cubicBezTo>
                <a:cubicBezTo>
                  <a:pt x="35272" y="179561"/>
                  <a:pt x="35719" y="177180"/>
                  <a:pt x="36612" y="174799"/>
                </a:cubicBezTo>
                <a:cubicBezTo>
                  <a:pt x="37505" y="172417"/>
                  <a:pt x="38398" y="169962"/>
                  <a:pt x="39291" y="167432"/>
                </a:cubicBezTo>
                <a:cubicBezTo>
                  <a:pt x="40184" y="164902"/>
                  <a:pt x="41151" y="162520"/>
                  <a:pt x="42193" y="160288"/>
                </a:cubicBezTo>
                <a:cubicBezTo>
                  <a:pt x="43235" y="158055"/>
                  <a:pt x="43681" y="155823"/>
                  <a:pt x="43532" y="153591"/>
                </a:cubicBezTo>
                <a:cubicBezTo>
                  <a:pt x="43532" y="152400"/>
                  <a:pt x="43160" y="151507"/>
                  <a:pt x="42416" y="150912"/>
                </a:cubicBezTo>
                <a:cubicBezTo>
                  <a:pt x="41672" y="150316"/>
                  <a:pt x="40704" y="149796"/>
                  <a:pt x="39514" y="149349"/>
                </a:cubicBezTo>
                <a:lnTo>
                  <a:pt x="18976" y="145777"/>
                </a:lnTo>
                <a:cubicBezTo>
                  <a:pt x="14362" y="145033"/>
                  <a:pt x="10790" y="143470"/>
                  <a:pt x="8260" y="141089"/>
                </a:cubicBezTo>
                <a:cubicBezTo>
                  <a:pt x="5730" y="138708"/>
                  <a:pt x="3870" y="135731"/>
                  <a:pt x="2679" y="132159"/>
                </a:cubicBezTo>
                <a:cubicBezTo>
                  <a:pt x="1488" y="128588"/>
                  <a:pt x="744" y="124941"/>
                  <a:pt x="446" y="121221"/>
                </a:cubicBezTo>
                <a:cubicBezTo>
                  <a:pt x="149" y="117500"/>
                  <a:pt x="0" y="113630"/>
                  <a:pt x="0" y="109612"/>
                </a:cubicBezTo>
                <a:cubicBezTo>
                  <a:pt x="0" y="103510"/>
                  <a:pt x="446" y="97557"/>
                  <a:pt x="1339" y="91753"/>
                </a:cubicBezTo>
                <a:lnTo>
                  <a:pt x="1563" y="91529"/>
                </a:lnTo>
                <a:cubicBezTo>
                  <a:pt x="2158" y="87362"/>
                  <a:pt x="3572" y="84088"/>
                  <a:pt x="5804" y="81707"/>
                </a:cubicBezTo>
                <a:cubicBezTo>
                  <a:pt x="8037" y="79325"/>
                  <a:pt x="10716" y="77465"/>
                  <a:pt x="13841" y="76126"/>
                </a:cubicBezTo>
                <a:cubicBezTo>
                  <a:pt x="16966" y="74786"/>
                  <a:pt x="20092" y="73893"/>
                  <a:pt x="23217" y="73447"/>
                </a:cubicBezTo>
                <a:cubicBezTo>
                  <a:pt x="26343" y="73000"/>
                  <a:pt x="29468" y="72479"/>
                  <a:pt x="32593" y="71884"/>
                </a:cubicBezTo>
                <a:cubicBezTo>
                  <a:pt x="35719" y="71289"/>
                  <a:pt x="38026" y="70693"/>
                  <a:pt x="39514" y="70098"/>
                </a:cubicBezTo>
                <a:cubicBezTo>
                  <a:pt x="41002" y="69503"/>
                  <a:pt x="41970" y="68238"/>
                  <a:pt x="42416" y="66303"/>
                </a:cubicBezTo>
                <a:cubicBezTo>
                  <a:pt x="42416" y="64219"/>
                  <a:pt x="41970" y="62061"/>
                  <a:pt x="41077" y="59829"/>
                </a:cubicBezTo>
                <a:cubicBezTo>
                  <a:pt x="40184" y="57596"/>
                  <a:pt x="39142" y="55141"/>
                  <a:pt x="37951" y="52462"/>
                </a:cubicBezTo>
                <a:cubicBezTo>
                  <a:pt x="36761" y="49783"/>
                  <a:pt x="35719" y="47253"/>
                  <a:pt x="34826" y="44872"/>
                </a:cubicBezTo>
                <a:cubicBezTo>
                  <a:pt x="33933" y="42490"/>
                  <a:pt x="33486" y="39960"/>
                  <a:pt x="33486" y="37281"/>
                </a:cubicBezTo>
                <a:cubicBezTo>
                  <a:pt x="33486" y="33114"/>
                  <a:pt x="34900" y="29170"/>
                  <a:pt x="37728" y="25450"/>
                </a:cubicBezTo>
                <a:cubicBezTo>
                  <a:pt x="40556" y="21729"/>
                  <a:pt x="43979" y="18455"/>
                  <a:pt x="47997" y="15627"/>
                </a:cubicBezTo>
                <a:cubicBezTo>
                  <a:pt x="52015" y="12799"/>
                  <a:pt x="56257" y="10195"/>
                  <a:pt x="60722" y="7813"/>
                </a:cubicBezTo>
                <a:cubicBezTo>
                  <a:pt x="65187" y="5432"/>
                  <a:pt x="69205" y="3646"/>
                  <a:pt x="72777" y="2456"/>
                </a:cubicBezTo>
                <a:lnTo>
                  <a:pt x="73000" y="2456"/>
                </a:lnTo>
                <a:lnTo>
                  <a:pt x="76572" y="1563"/>
                </a:lnTo>
                <a:cubicBezTo>
                  <a:pt x="77763" y="1265"/>
                  <a:pt x="79028" y="1116"/>
                  <a:pt x="80367" y="1116"/>
                </a:cubicBezTo>
                <a:cubicBezTo>
                  <a:pt x="85130" y="1116"/>
                  <a:pt x="89148" y="2381"/>
                  <a:pt x="92422" y="4911"/>
                </a:cubicBezTo>
                <a:cubicBezTo>
                  <a:pt x="95696" y="7441"/>
                  <a:pt x="98524" y="10269"/>
                  <a:pt x="100905" y="13395"/>
                </a:cubicBezTo>
                <a:cubicBezTo>
                  <a:pt x="103287" y="16520"/>
                  <a:pt x="105519" y="19348"/>
                  <a:pt x="107603" y="21878"/>
                </a:cubicBezTo>
                <a:cubicBezTo>
                  <a:pt x="109686" y="24408"/>
                  <a:pt x="111621" y="25673"/>
                  <a:pt x="113407" y="25673"/>
                </a:cubicBezTo>
                <a:cubicBezTo>
                  <a:pt x="114002" y="25673"/>
                  <a:pt x="114746" y="25524"/>
                  <a:pt x="115639" y="25226"/>
                </a:cubicBezTo>
                <a:lnTo>
                  <a:pt x="116309" y="24557"/>
                </a:lnTo>
                <a:cubicBezTo>
                  <a:pt x="116458" y="24408"/>
                  <a:pt x="116756" y="24185"/>
                  <a:pt x="117202" y="23887"/>
                </a:cubicBezTo>
                <a:lnTo>
                  <a:pt x="130597" y="7813"/>
                </a:lnTo>
                <a:cubicBezTo>
                  <a:pt x="135062" y="2604"/>
                  <a:pt x="140568" y="0"/>
                  <a:pt x="147117" y="0"/>
                </a:cubicBezTo>
                <a:cubicBezTo>
                  <a:pt x="149647" y="0"/>
                  <a:pt x="152698" y="670"/>
                  <a:pt x="156270" y="2009"/>
                </a:cubicBezTo>
                <a:cubicBezTo>
                  <a:pt x="159841" y="3349"/>
                  <a:pt x="163562" y="5135"/>
                  <a:pt x="167432" y="7367"/>
                </a:cubicBezTo>
                <a:cubicBezTo>
                  <a:pt x="171301" y="9599"/>
                  <a:pt x="174799" y="11757"/>
                  <a:pt x="177924" y="13841"/>
                </a:cubicBezTo>
                <a:cubicBezTo>
                  <a:pt x="181049" y="15925"/>
                  <a:pt x="183728" y="17859"/>
                  <a:pt x="185961" y="19645"/>
                </a:cubicBezTo>
                <a:lnTo>
                  <a:pt x="186184" y="19645"/>
                </a:lnTo>
                <a:cubicBezTo>
                  <a:pt x="191244" y="23961"/>
                  <a:pt x="193774" y="29394"/>
                  <a:pt x="193774" y="35942"/>
                </a:cubicBezTo>
                <a:cubicBezTo>
                  <a:pt x="193774" y="38472"/>
                  <a:pt x="193328" y="41002"/>
                  <a:pt x="192435" y="43532"/>
                </a:cubicBezTo>
                <a:cubicBezTo>
                  <a:pt x="191542" y="46062"/>
                  <a:pt x="190649" y="48518"/>
                  <a:pt x="189756" y="50899"/>
                </a:cubicBezTo>
                <a:cubicBezTo>
                  <a:pt x="188863" y="53280"/>
                  <a:pt x="187896" y="55662"/>
                  <a:pt x="186854" y="58043"/>
                </a:cubicBezTo>
                <a:cubicBezTo>
                  <a:pt x="185812" y="60424"/>
                  <a:pt x="185365" y="62508"/>
                  <a:pt x="185514" y="64294"/>
                </a:cubicBezTo>
                <a:cubicBezTo>
                  <a:pt x="185514" y="65336"/>
                  <a:pt x="185961" y="66303"/>
                  <a:pt x="186854" y="67196"/>
                </a:cubicBezTo>
                <a:cubicBezTo>
                  <a:pt x="187747" y="68089"/>
                  <a:pt x="188714" y="68610"/>
                  <a:pt x="189756" y="68759"/>
                </a:cubicBezTo>
                <a:lnTo>
                  <a:pt x="210294" y="72107"/>
                </a:lnTo>
                <a:cubicBezTo>
                  <a:pt x="214759" y="72851"/>
                  <a:pt x="218256" y="74488"/>
                  <a:pt x="220787" y="77019"/>
                </a:cubicBezTo>
                <a:cubicBezTo>
                  <a:pt x="223317" y="79549"/>
                  <a:pt x="225177" y="82525"/>
                  <a:pt x="226368" y="85948"/>
                </a:cubicBezTo>
                <a:cubicBezTo>
                  <a:pt x="227558" y="89371"/>
                  <a:pt x="228302" y="93092"/>
                  <a:pt x="228600" y="97110"/>
                </a:cubicBezTo>
                <a:cubicBezTo>
                  <a:pt x="228898" y="101129"/>
                  <a:pt x="229046" y="104924"/>
                  <a:pt x="229046" y="108496"/>
                </a:cubicBezTo>
                <a:lnTo>
                  <a:pt x="229046" y="116086"/>
                </a:lnTo>
                <a:cubicBezTo>
                  <a:pt x="229046" y="118616"/>
                  <a:pt x="228749" y="121221"/>
                  <a:pt x="228154" y="123899"/>
                </a:cubicBezTo>
                <a:cubicBezTo>
                  <a:pt x="227558" y="126578"/>
                  <a:pt x="226888" y="129034"/>
                  <a:pt x="226144" y="131266"/>
                </a:cubicBezTo>
                <a:cubicBezTo>
                  <a:pt x="225400" y="133499"/>
                  <a:pt x="223986" y="135657"/>
                  <a:pt x="221903" y="137740"/>
                </a:cubicBezTo>
                <a:cubicBezTo>
                  <a:pt x="219521" y="140271"/>
                  <a:pt x="216396" y="141982"/>
                  <a:pt x="212527" y="142875"/>
                </a:cubicBezTo>
                <a:cubicBezTo>
                  <a:pt x="208657" y="143768"/>
                  <a:pt x="204788" y="144587"/>
                  <a:pt x="200918" y="145331"/>
                </a:cubicBezTo>
                <a:cubicBezTo>
                  <a:pt x="197048" y="146075"/>
                  <a:pt x="193700" y="146819"/>
                  <a:pt x="190872" y="147563"/>
                </a:cubicBezTo>
                <a:cubicBezTo>
                  <a:pt x="188044" y="148307"/>
                  <a:pt x="186630" y="149721"/>
                  <a:pt x="186630" y="151805"/>
                </a:cubicBezTo>
                <a:cubicBezTo>
                  <a:pt x="186630" y="152400"/>
                  <a:pt x="187003" y="153814"/>
                  <a:pt x="187747" y="156046"/>
                </a:cubicBezTo>
                <a:cubicBezTo>
                  <a:pt x="188491" y="158279"/>
                  <a:pt x="189309" y="160586"/>
                  <a:pt x="190202" y="162967"/>
                </a:cubicBezTo>
                <a:cubicBezTo>
                  <a:pt x="191095" y="165348"/>
                  <a:pt x="191914" y="167655"/>
                  <a:pt x="192658" y="169887"/>
                </a:cubicBezTo>
                <a:cubicBezTo>
                  <a:pt x="193402" y="172120"/>
                  <a:pt x="193923" y="173310"/>
                  <a:pt x="194221" y="173459"/>
                </a:cubicBezTo>
                <a:lnTo>
                  <a:pt x="194221" y="173236"/>
                </a:lnTo>
                <a:cubicBezTo>
                  <a:pt x="195114" y="175766"/>
                  <a:pt x="195560" y="178296"/>
                  <a:pt x="195560" y="180826"/>
                </a:cubicBezTo>
                <a:cubicBezTo>
                  <a:pt x="195560" y="183952"/>
                  <a:pt x="194890" y="186928"/>
                  <a:pt x="193551" y="189756"/>
                </a:cubicBezTo>
                <a:cubicBezTo>
                  <a:pt x="192212" y="192584"/>
                  <a:pt x="190351" y="195039"/>
                  <a:pt x="187970" y="197123"/>
                </a:cubicBezTo>
                <a:cubicBezTo>
                  <a:pt x="185886" y="198760"/>
                  <a:pt x="183207" y="200695"/>
                  <a:pt x="179933" y="202927"/>
                </a:cubicBezTo>
                <a:cubicBezTo>
                  <a:pt x="176659" y="205160"/>
                  <a:pt x="173087" y="207392"/>
                  <a:pt x="169218" y="209624"/>
                </a:cubicBezTo>
                <a:cubicBezTo>
                  <a:pt x="165348" y="211857"/>
                  <a:pt x="161627" y="213568"/>
                  <a:pt x="158055" y="214759"/>
                </a:cubicBezTo>
                <a:cubicBezTo>
                  <a:pt x="154484" y="215950"/>
                  <a:pt x="151358" y="216694"/>
                  <a:pt x="148679" y="216991"/>
                </a:cubicBezTo>
                <a:cubicBezTo>
                  <a:pt x="143917" y="216991"/>
                  <a:pt x="139973" y="215726"/>
                  <a:pt x="136847" y="213196"/>
                </a:cubicBezTo>
                <a:cubicBezTo>
                  <a:pt x="133722" y="210666"/>
                  <a:pt x="130894" y="207838"/>
                  <a:pt x="128364" y="204713"/>
                </a:cubicBezTo>
                <a:cubicBezTo>
                  <a:pt x="125834" y="201588"/>
                  <a:pt x="123602" y="198760"/>
                  <a:pt x="121667" y="196230"/>
                </a:cubicBezTo>
                <a:cubicBezTo>
                  <a:pt x="119732" y="193700"/>
                  <a:pt x="117723" y="192435"/>
                  <a:pt x="115639" y="192435"/>
                </a:cubicBezTo>
                <a:cubicBezTo>
                  <a:pt x="113556" y="192435"/>
                  <a:pt x="111547" y="193774"/>
                  <a:pt x="109612" y="196453"/>
                </a:cubicBezTo>
                <a:cubicBezTo>
                  <a:pt x="107677" y="199132"/>
                  <a:pt x="105519" y="202034"/>
                  <a:pt x="103138" y="205160"/>
                </a:cubicBezTo>
                <a:cubicBezTo>
                  <a:pt x="100757" y="208285"/>
                  <a:pt x="97929" y="211187"/>
                  <a:pt x="94655" y="213866"/>
                </a:cubicBezTo>
                <a:cubicBezTo>
                  <a:pt x="91380" y="216545"/>
                  <a:pt x="87362" y="217884"/>
                  <a:pt x="82600" y="217884"/>
                </a:cubicBezTo>
                <a:close/>
                <a:moveTo>
                  <a:pt x="115193" y="163860"/>
                </a:moveTo>
                <a:cubicBezTo>
                  <a:pt x="119658" y="163860"/>
                  <a:pt x="123527" y="164455"/>
                  <a:pt x="126802" y="165646"/>
                </a:cubicBezTo>
                <a:cubicBezTo>
                  <a:pt x="130076" y="166836"/>
                  <a:pt x="133052" y="168473"/>
                  <a:pt x="135731" y="170557"/>
                </a:cubicBezTo>
                <a:cubicBezTo>
                  <a:pt x="138410" y="172641"/>
                  <a:pt x="140940" y="175096"/>
                  <a:pt x="143321" y="177924"/>
                </a:cubicBezTo>
                <a:cubicBezTo>
                  <a:pt x="145703" y="180752"/>
                  <a:pt x="148233" y="183728"/>
                  <a:pt x="150912" y="186854"/>
                </a:cubicBezTo>
                <a:cubicBezTo>
                  <a:pt x="153591" y="185663"/>
                  <a:pt x="156046" y="184324"/>
                  <a:pt x="158279" y="182835"/>
                </a:cubicBezTo>
                <a:cubicBezTo>
                  <a:pt x="160511" y="181347"/>
                  <a:pt x="162967" y="179784"/>
                  <a:pt x="165646" y="178147"/>
                </a:cubicBezTo>
                <a:cubicBezTo>
                  <a:pt x="164009" y="173980"/>
                  <a:pt x="162371" y="169738"/>
                  <a:pt x="160734" y="165422"/>
                </a:cubicBezTo>
                <a:cubicBezTo>
                  <a:pt x="159097" y="161106"/>
                  <a:pt x="158204" y="156716"/>
                  <a:pt x="158055" y="152251"/>
                </a:cubicBezTo>
                <a:cubicBezTo>
                  <a:pt x="158055" y="146000"/>
                  <a:pt x="159469" y="140419"/>
                  <a:pt x="162297" y="135508"/>
                </a:cubicBezTo>
                <a:cubicBezTo>
                  <a:pt x="165125" y="130597"/>
                  <a:pt x="169218" y="126578"/>
                  <a:pt x="174575" y="123453"/>
                </a:cubicBezTo>
                <a:cubicBezTo>
                  <a:pt x="178296" y="121221"/>
                  <a:pt x="182463" y="119732"/>
                  <a:pt x="187077" y="118988"/>
                </a:cubicBezTo>
                <a:cubicBezTo>
                  <a:pt x="191691" y="118244"/>
                  <a:pt x="196081" y="117425"/>
                  <a:pt x="200248" y="116532"/>
                </a:cubicBezTo>
                <a:cubicBezTo>
                  <a:pt x="200397" y="115937"/>
                  <a:pt x="200471" y="115342"/>
                  <a:pt x="200471" y="114746"/>
                </a:cubicBezTo>
                <a:cubicBezTo>
                  <a:pt x="200471" y="114151"/>
                  <a:pt x="200471" y="113481"/>
                  <a:pt x="200471" y="112737"/>
                </a:cubicBezTo>
                <a:lnTo>
                  <a:pt x="200471" y="108942"/>
                </a:lnTo>
                <a:lnTo>
                  <a:pt x="200471" y="104254"/>
                </a:lnTo>
                <a:cubicBezTo>
                  <a:pt x="200471" y="102766"/>
                  <a:pt x="200323" y="101203"/>
                  <a:pt x="200025" y="99566"/>
                </a:cubicBezTo>
                <a:lnTo>
                  <a:pt x="184845" y="96887"/>
                </a:lnTo>
                <a:cubicBezTo>
                  <a:pt x="176659" y="95399"/>
                  <a:pt x="169962" y="91604"/>
                  <a:pt x="164753" y="85502"/>
                </a:cubicBezTo>
                <a:cubicBezTo>
                  <a:pt x="159544" y="79400"/>
                  <a:pt x="156939" y="72182"/>
                  <a:pt x="156939" y="63847"/>
                </a:cubicBezTo>
                <a:cubicBezTo>
                  <a:pt x="156939" y="59531"/>
                  <a:pt x="157758" y="55290"/>
                  <a:pt x="159395" y="51122"/>
                </a:cubicBezTo>
                <a:cubicBezTo>
                  <a:pt x="161032" y="46955"/>
                  <a:pt x="162520" y="42788"/>
                  <a:pt x="163860" y="38621"/>
                </a:cubicBezTo>
                <a:cubicBezTo>
                  <a:pt x="161479" y="36984"/>
                  <a:pt x="159097" y="35496"/>
                  <a:pt x="156716" y="34156"/>
                </a:cubicBezTo>
                <a:cubicBezTo>
                  <a:pt x="154335" y="32817"/>
                  <a:pt x="151805" y="31477"/>
                  <a:pt x="149126" y="30138"/>
                </a:cubicBezTo>
                <a:cubicBezTo>
                  <a:pt x="146596" y="33263"/>
                  <a:pt x="144140" y="36240"/>
                  <a:pt x="141759" y="39067"/>
                </a:cubicBezTo>
                <a:cubicBezTo>
                  <a:pt x="139378" y="41895"/>
                  <a:pt x="136847" y="44500"/>
                  <a:pt x="134169" y="46881"/>
                </a:cubicBezTo>
                <a:cubicBezTo>
                  <a:pt x="131490" y="49262"/>
                  <a:pt x="128513" y="51048"/>
                  <a:pt x="125239" y="52239"/>
                </a:cubicBezTo>
                <a:cubicBezTo>
                  <a:pt x="121965" y="53429"/>
                  <a:pt x="118170" y="54099"/>
                  <a:pt x="113854" y="54248"/>
                </a:cubicBezTo>
                <a:cubicBezTo>
                  <a:pt x="109240" y="54248"/>
                  <a:pt x="105370" y="53653"/>
                  <a:pt x="102245" y="52462"/>
                </a:cubicBezTo>
                <a:cubicBezTo>
                  <a:pt x="99120" y="51271"/>
                  <a:pt x="96217" y="49634"/>
                  <a:pt x="93538" y="47551"/>
                </a:cubicBezTo>
                <a:cubicBezTo>
                  <a:pt x="90860" y="45467"/>
                  <a:pt x="88404" y="43011"/>
                  <a:pt x="86171" y="40184"/>
                </a:cubicBezTo>
                <a:cubicBezTo>
                  <a:pt x="83939" y="37356"/>
                  <a:pt x="81335" y="34379"/>
                  <a:pt x="78358" y="31254"/>
                </a:cubicBezTo>
                <a:cubicBezTo>
                  <a:pt x="75828" y="32445"/>
                  <a:pt x="73298" y="33784"/>
                  <a:pt x="70768" y="35272"/>
                </a:cubicBezTo>
                <a:cubicBezTo>
                  <a:pt x="68238" y="36761"/>
                  <a:pt x="65856" y="38323"/>
                  <a:pt x="63624" y="39960"/>
                </a:cubicBezTo>
                <a:cubicBezTo>
                  <a:pt x="65261" y="44128"/>
                  <a:pt x="66898" y="48369"/>
                  <a:pt x="68535" y="52685"/>
                </a:cubicBezTo>
                <a:cubicBezTo>
                  <a:pt x="70172" y="57001"/>
                  <a:pt x="71065" y="61466"/>
                  <a:pt x="71214" y="66080"/>
                </a:cubicBezTo>
                <a:cubicBezTo>
                  <a:pt x="71214" y="68907"/>
                  <a:pt x="70842" y="71661"/>
                  <a:pt x="70098" y="74340"/>
                </a:cubicBezTo>
                <a:cubicBezTo>
                  <a:pt x="69354" y="77019"/>
                  <a:pt x="68238" y="79623"/>
                  <a:pt x="66749" y="82153"/>
                </a:cubicBezTo>
                <a:cubicBezTo>
                  <a:pt x="64517" y="86023"/>
                  <a:pt x="62061" y="89074"/>
                  <a:pt x="59382" y="91306"/>
                </a:cubicBezTo>
                <a:cubicBezTo>
                  <a:pt x="56704" y="93538"/>
                  <a:pt x="53801" y="95250"/>
                  <a:pt x="50676" y="96441"/>
                </a:cubicBezTo>
                <a:cubicBezTo>
                  <a:pt x="47551" y="97631"/>
                  <a:pt x="44202" y="98524"/>
                  <a:pt x="40630" y="99120"/>
                </a:cubicBezTo>
                <a:cubicBezTo>
                  <a:pt x="37058" y="99715"/>
                  <a:pt x="33189" y="100533"/>
                  <a:pt x="29021" y="101575"/>
                </a:cubicBezTo>
                <a:cubicBezTo>
                  <a:pt x="28873" y="102319"/>
                  <a:pt x="28798" y="102989"/>
                  <a:pt x="28798" y="103584"/>
                </a:cubicBezTo>
                <a:cubicBezTo>
                  <a:pt x="28798" y="104180"/>
                  <a:pt x="28798" y="104924"/>
                  <a:pt x="28798" y="105817"/>
                </a:cubicBezTo>
                <a:lnTo>
                  <a:pt x="28798" y="114300"/>
                </a:lnTo>
                <a:cubicBezTo>
                  <a:pt x="28798" y="115639"/>
                  <a:pt x="28873" y="117053"/>
                  <a:pt x="29021" y="118542"/>
                </a:cubicBezTo>
                <a:lnTo>
                  <a:pt x="44202" y="120997"/>
                </a:lnTo>
                <a:cubicBezTo>
                  <a:pt x="48071" y="121593"/>
                  <a:pt x="51718" y="122858"/>
                  <a:pt x="55141" y="124792"/>
                </a:cubicBezTo>
                <a:cubicBezTo>
                  <a:pt x="58564" y="126727"/>
                  <a:pt x="61540" y="129257"/>
                  <a:pt x="64071" y="132383"/>
                </a:cubicBezTo>
                <a:cubicBezTo>
                  <a:pt x="66601" y="135508"/>
                  <a:pt x="68610" y="138782"/>
                  <a:pt x="70098" y="142205"/>
                </a:cubicBezTo>
                <a:cubicBezTo>
                  <a:pt x="71586" y="145628"/>
                  <a:pt x="72330" y="149423"/>
                  <a:pt x="72330" y="153591"/>
                </a:cubicBezTo>
                <a:cubicBezTo>
                  <a:pt x="72330" y="158055"/>
                  <a:pt x="71586" y="162371"/>
                  <a:pt x="70098" y="166539"/>
                </a:cubicBezTo>
                <a:cubicBezTo>
                  <a:pt x="68610" y="170706"/>
                  <a:pt x="67047" y="174947"/>
                  <a:pt x="65410" y="179263"/>
                </a:cubicBezTo>
                <a:cubicBezTo>
                  <a:pt x="67642" y="180901"/>
                  <a:pt x="70024" y="182389"/>
                  <a:pt x="72554" y="183728"/>
                </a:cubicBezTo>
                <a:cubicBezTo>
                  <a:pt x="75084" y="185068"/>
                  <a:pt x="77614" y="186407"/>
                  <a:pt x="80144" y="187747"/>
                </a:cubicBezTo>
                <a:cubicBezTo>
                  <a:pt x="82674" y="184621"/>
                  <a:pt x="85055" y="181645"/>
                  <a:pt x="87288" y="178817"/>
                </a:cubicBezTo>
                <a:cubicBezTo>
                  <a:pt x="89520" y="175989"/>
                  <a:pt x="92050" y="173459"/>
                  <a:pt x="94878" y="171227"/>
                </a:cubicBezTo>
                <a:cubicBezTo>
                  <a:pt x="97706" y="168994"/>
                  <a:pt x="100608" y="167208"/>
                  <a:pt x="103584" y="165869"/>
                </a:cubicBezTo>
                <a:cubicBezTo>
                  <a:pt x="106561" y="164530"/>
                  <a:pt x="110430" y="163860"/>
                  <a:pt x="115193" y="163860"/>
                </a:cubicBezTo>
                <a:close/>
                <a:moveTo>
                  <a:pt x="87511" y="108942"/>
                </a:moveTo>
                <a:cubicBezTo>
                  <a:pt x="87511" y="105221"/>
                  <a:pt x="88181" y="101724"/>
                  <a:pt x="89520" y="98450"/>
                </a:cubicBezTo>
                <a:cubicBezTo>
                  <a:pt x="90860" y="95176"/>
                  <a:pt x="92794" y="92348"/>
                  <a:pt x="95324" y="89967"/>
                </a:cubicBezTo>
                <a:cubicBezTo>
                  <a:pt x="97854" y="87585"/>
                  <a:pt x="100757" y="85725"/>
                  <a:pt x="104031" y="84386"/>
                </a:cubicBezTo>
                <a:cubicBezTo>
                  <a:pt x="107305" y="83046"/>
                  <a:pt x="110803" y="82302"/>
                  <a:pt x="114523" y="82153"/>
                </a:cubicBezTo>
                <a:cubicBezTo>
                  <a:pt x="118244" y="82153"/>
                  <a:pt x="121741" y="82823"/>
                  <a:pt x="125016" y="84162"/>
                </a:cubicBezTo>
                <a:cubicBezTo>
                  <a:pt x="128290" y="85502"/>
                  <a:pt x="131118" y="87437"/>
                  <a:pt x="133499" y="89967"/>
                </a:cubicBezTo>
                <a:cubicBezTo>
                  <a:pt x="135880" y="92497"/>
                  <a:pt x="137815" y="95324"/>
                  <a:pt x="139303" y="98450"/>
                </a:cubicBezTo>
                <a:cubicBezTo>
                  <a:pt x="140791" y="101575"/>
                  <a:pt x="141536" y="105073"/>
                  <a:pt x="141536" y="108942"/>
                </a:cubicBezTo>
                <a:cubicBezTo>
                  <a:pt x="141536" y="112663"/>
                  <a:pt x="140866" y="116160"/>
                  <a:pt x="139526" y="119435"/>
                </a:cubicBezTo>
                <a:cubicBezTo>
                  <a:pt x="138187" y="122709"/>
                  <a:pt x="136252" y="125537"/>
                  <a:pt x="133722" y="127918"/>
                </a:cubicBezTo>
                <a:cubicBezTo>
                  <a:pt x="131192" y="130299"/>
                  <a:pt x="128290" y="132234"/>
                  <a:pt x="125016" y="133722"/>
                </a:cubicBezTo>
                <a:cubicBezTo>
                  <a:pt x="121741" y="135210"/>
                  <a:pt x="118244" y="135955"/>
                  <a:pt x="114523" y="135955"/>
                </a:cubicBezTo>
                <a:cubicBezTo>
                  <a:pt x="110654" y="135955"/>
                  <a:pt x="107082" y="135285"/>
                  <a:pt x="103808" y="133945"/>
                </a:cubicBezTo>
                <a:cubicBezTo>
                  <a:pt x="100533" y="132606"/>
                  <a:pt x="97706" y="130671"/>
                  <a:pt x="95324" y="128141"/>
                </a:cubicBezTo>
                <a:cubicBezTo>
                  <a:pt x="92943" y="125611"/>
                  <a:pt x="91083" y="122783"/>
                  <a:pt x="89743" y="119658"/>
                </a:cubicBezTo>
                <a:cubicBezTo>
                  <a:pt x="88404" y="116532"/>
                  <a:pt x="87660" y="112961"/>
                  <a:pt x="87511" y="108942"/>
                </a:cubicBezTo>
                <a:close/>
                <a:moveTo>
                  <a:pt x="258291" y="396255"/>
                </a:moveTo>
                <a:cubicBezTo>
                  <a:pt x="255761" y="396255"/>
                  <a:pt x="253082" y="396776"/>
                  <a:pt x="250255" y="397818"/>
                </a:cubicBezTo>
                <a:cubicBezTo>
                  <a:pt x="247427" y="398859"/>
                  <a:pt x="244376" y="400124"/>
                  <a:pt x="241102" y="401613"/>
                </a:cubicBezTo>
                <a:cubicBezTo>
                  <a:pt x="237827" y="403101"/>
                  <a:pt x="234702" y="404366"/>
                  <a:pt x="231725" y="405408"/>
                </a:cubicBezTo>
                <a:cubicBezTo>
                  <a:pt x="228749" y="406450"/>
                  <a:pt x="225623" y="407045"/>
                  <a:pt x="222349" y="407194"/>
                </a:cubicBezTo>
                <a:cubicBezTo>
                  <a:pt x="218926" y="407194"/>
                  <a:pt x="215652" y="406450"/>
                  <a:pt x="212527" y="404961"/>
                </a:cubicBezTo>
                <a:cubicBezTo>
                  <a:pt x="209401" y="403473"/>
                  <a:pt x="206722" y="401389"/>
                  <a:pt x="204490" y="398711"/>
                </a:cubicBezTo>
                <a:cubicBezTo>
                  <a:pt x="202406" y="396180"/>
                  <a:pt x="200025" y="392906"/>
                  <a:pt x="197346" y="388888"/>
                </a:cubicBezTo>
                <a:cubicBezTo>
                  <a:pt x="194667" y="384870"/>
                  <a:pt x="191988" y="380554"/>
                  <a:pt x="189309" y="375940"/>
                </a:cubicBezTo>
                <a:cubicBezTo>
                  <a:pt x="186630" y="371326"/>
                  <a:pt x="184547" y="366787"/>
                  <a:pt x="183059" y="362322"/>
                </a:cubicBezTo>
                <a:cubicBezTo>
                  <a:pt x="181570" y="357857"/>
                  <a:pt x="180677" y="353988"/>
                  <a:pt x="180380" y="350713"/>
                </a:cubicBezTo>
                <a:cubicBezTo>
                  <a:pt x="180380" y="346844"/>
                  <a:pt x="181124" y="343495"/>
                  <a:pt x="182612" y="340668"/>
                </a:cubicBezTo>
                <a:cubicBezTo>
                  <a:pt x="184100" y="337840"/>
                  <a:pt x="186110" y="335235"/>
                  <a:pt x="188640" y="332854"/>
                </a:cubicBezTo>
                <a:cubicBezTo>
                  <a:pt x="191170" y="330473"/>
                  <a:pt x="193700" y="328389"/>
                  <a:pt x="196230" y="326603"/>
                </a:cubicBezTo>
                <a:cubicBezTo>
                  <a:pt x="198760" y="324817"/>
                  <a:pt x="201364" y="322957"/>
                  <a:pt x="204043" y="321022"/>
                </a:cubicBezTo>
                <a:cubicBezTo>
                  <a:pt x="206722" y="319088"/>
                  <a:pt x="208657" y="317153"/>
                  <a:pt x="209848" y="315218"/>
                </a:cubicBezTo>
                <a:cubicBezTo>
                  <a:pt x="211038" y="313283"/>
                  <a:pt x="211857" y="311051"/>
                  <a:pt x="212303" y="308521"/>
                </a:cubicBezTo>
                <a:cubicBezTo>
                  <a:pt x="212303" y="304800"/>
                  <a:pt x="210666" y="301600"/>
                  <a:pt x="207392" y="298921"/>
                </a:cubicBezTo>
                <a:cubicBezTo>
                  <a:pt x="204118" y="296242"/>
                  <a:pt x="200397" y="293340"/>
                  <a:pt x="196230" y="290215"/>
                </a:cubicBezTo>
                <a:cubicBezTo>
                  <a:pt x="192063" y="287089"/>
                  <a:pt x="188416" y="283741"/>
                  <a:pt x="185291" y="280169"/>
                </a:cubicBezTo>
                <a:cubicBezTo>
                  <a:pt x="182166" y="276597"/>
                  <a:pt x="180454" y="271835"/>
                  <a:pt x="180156" y="265881"/>
                </a:cubicBezTo>
                <a:cubicBezTo>
                  <a:pt x="180156" y="262756"/>
                  <a:pt x="181049" y="258961"/>
                  <a:pt x="182835" y="254496"/>
                </a:cubicBezTo>
                <a:cubicBezTo>
                  <a:pt x="184621" y="250031"/>
                  <a:pt x="186854" y="245492"/>
                  <a:pt x="189533" y="240878"/>
                </a:cubicBezTo>
                <a:cubicBezTo>
                  <a:pt x="192212" y="236265"/>
                  <a:pt x="194890" y="231874"/>
                  <a:pt x="197569" y="227707"/>
                </a:cubicBezTo>
                <a:cubicBezTo>
                  <a:pt x="200248" y="223540"/>
                  <a:pt x="202704" y="220266"/>
                  <a:pt x="204936" y="217884"/>
                </a:cubicBezTo>
                <a:cubicBezTo>
                  <a:pt x="207169" y="215354"/>
                  <a:pt x="209848" y="213345"/>
                  <a:pt x="212973" y="211857"/>
                </a:cubicBezTo>
                <a:cubicBezTo>
                  <a:pt x="216098" y="210369"/>
                  <a:pt x="219373" y="209624"/>
                  <a:pt x="222796" y="209624"/>
                </a:cubicBezTo>
                <a:cubicBezTo>
                  <a:pt x="225772" y="209624"/>
                  <a:pt x="228823" y="210220"/>
                  <a:pt x="231949" y="211410"/>
                </a:cubicBezTo>
                <a:cubicBezTo>
                  <a:pt x="235074" y="212601"/>
                  <a:pt x="238199" y="213866"/>
                  <a:pt x="241325" y="215205"/>
                </a:cubicBezTo>
                <a:cubicBezTo>
                  <a:pt x="244450" y="216545"/>
                  <a:pt x="247427" y="217810"/>
                  <a:pt x="250255" y="219001"/>
                </a:cubicBezTo>
                <a:cubicBezTo>
                  <a:pt x="253082" y="220191"/>
                  <a:pt x="255761" y="220787"/>
                  <a:pt x="258291" y="220787"/>
                </a:cubicBezTo>
                <a:cubicBezTo>
                  <a:pt x="260970" y="220787"/>
                  <a:pt x="263277" y="220042"/>
                  <a:pt x="265212" y="218554"/>
                </a:cubicBezTo>
                <a:cubicBezTo>
                  <a:pt x="267146" y="217066"/>
                  <a:pt x="268337" y="214982"/>
                  <a:pt x="268784" y="212303"/>
                </a:cubicBezTo>
                <a:lnTo>
                  <a:pt x="273695" y="185961"/>
                </a:lnTo>
                <a:cubicBezTo>
                  <a:pt x="274588" y="181049"/>
                  <a:pt x="276374" y="177254"/>
                  <a:pt x="279053" y="174575"/>
                </a:cubicBezTo>
                <a:cubicBezTo>
                  <a:pt x="281732" y="171896"/>
                  <a:pt x="284931" y="169962"/>
                  <a:pt x="288652" y="168771"/>
                </a:cubicBezTo>
                <a:cubicBezTo>
                  <a:pt x="292373" y="167580"/>
                  <a:pt x="296317" y="166762"/>
                  <a:pt x="300484" y="166315"/>
                </a:cubicBezTo>
                <a:cubicBezTo>
                  <a:pt x="304651" y="165869"/>
                  <a:pt x="308818" y="165720"/>
                  <a:pt x="312986" y="165869"/>
                </a:cubicBezTo>
                <a:lnTo>
                  <a:pt x="323924" y="165869"/>
                </a:lnTo>
                <a:cubicBezTo>
                  <a:pt x="327199" y="165869"/>
                  <a:pt x="330547" y="166241"/>
                  <a:pt x="333970" y="166985"/>
                </a:cubicBezTo>
                <a:cubicBezTo>
                  <a:pt x="337393" y="167729"/>
                  <a:pt x="340593" y="168548"/>
                  <a:pt x="343570" y="169441"/>
                </a:cubicBezTo>
                <a:cubicBezTo>
                  <a:pt x="346546" y="170334"/>
                  <a:pt x="349002" y="171896"/>
                  <a:pt x="350937" y="174129"/>
                </a:cubicBezTo>
                <a:cubicBezTo>
                  <a:pt x="354062" y="177403"/>
                  <a:pt x="356146" y="181645"/>
                  <a:pt x="357188" y="186854"/>
                </a:cubicBezTo>
                <a:cubicBezTo>
                  <a:pt x="358229" y="192063"/>
                  <a:pt x="359048" y="197197"/>
                  <a:pt x="359643" y="202257"/>
                </a:cubicBezTo>
                <a:cubicBezTo>
                  <a:pt x="360238" y="207318"/>
                  <a:pt x="361280" y="211634"/>
                  <a:pt x="362769" y="215205"/>
                </a:cubicBezTo>
                <a:cubicBezTo>
                  <a:pt x="364257" y="218777"/>
                  <a:pt x="366936" y="220638"/>
                  <a:pt x="370805" y="220787"/>
                </a:cubicBezTo>
                <a:cubicBezTo>
                  <a:pt x="373782" y="220787"/>
                  <a:pt x="376833" y="220266"/>
                  <a:pt x="379958" y="219224"/>
                </a:cubicBezTo>
                <a:cubicBezTo>
                  <a:pt x="383084" y="218182"/>
                  <a:pt x="386209" y="216917"/>
                  <a:pt x="389334" y="215429"/>
                </a:cubicBezTo>
                <a:cubicBezTo>
                  <a:pt x="392460" y="213940"/>
                  <a:pt x="395585" y="212675"/>
                  <a:pt x="398711" y="211634"/>
                </a:cubicBezTo>
                <a:cubicBezTo>
                  <a:pt x="401836" y="210592"/>
                  <a:pt x="404961" y="209996"/>
                  <a:pt x="408087" y="209848"/>
                </a:cubicBezTo>
                <a:cubicBezTo>
                  <a:pt x="411510" y="209848"/>
                  <a:pt x="414784" y="210517"/>
                  <a:pt x="417909" y="211857"/>
                </a:cubicBezTo>
                <a:cubicBezTo>
                  <a:pt x="421035" y="213196"/>
                  <a:pt x="423714" y="215280"/>
                  <a:pt x="425946" y="218108"/>
                </a:cubicBezTo>
                <a:cubicBezTo>
                  <a:pt x="427881" y="220638"/>
                  <a:pt x="430262" y="223912"/>
                  <a:pt x="433090" y="227930"/>
                </a:cubicBezTo>
                <a:cubicBezTo>
                  <a:pt x="435918" y="231949"/>
                  <a:pt x="438522" y="236339"/>
                  <a:pt x="440903" y="241102"/>
                </a:cubicBezTo>
                <a:cubicBezTo>
                  <a:pt x="443285" y="245864"/>
                  <a:pt x="445443" y="250403"/>
                  <a:pt x="447377" y="254719"/>
                </a:cubicBezTo>
                <a:cubicBezTo>
                  <a:pt x="449312" y="259035"/>
                  <a:pt x="450205" y="262830"/>
                  <a:pt x="450056" y="266105"/>
                </a:cubicBezTo>
                <a:cubicBezTo>
                  <a:pt x="450056" y="269974"/>
                  <a:pt x="449312" y="273323"/>
                  <a:pt x="447824" y="276151"/>
                </a:cubicBezTo>
                <a:cubicBezTo>
                  <a:pt x="446336" y="278978"/>
                  <a:pt x="444326" y="281583"/>
                  <a:pt x="441796" y="283964"/>
                </a:cubicBezTo>
                <a:cubicBezTo>
                  <a:pt x="439266" y="286345"/>
                  <a:pt x="436736" y="288503"/>
                  <a:pt x="434206" y="290438"/>
                </a:cubicBezTo>
                <a:cubicBezTo>
                  <a:pt x="431676" y="292373"/>
                  <a:pt x="429072" y="294233"/>
                  <a:pt x="426393" y="296019"/>
                </a:cubicBezTo>
                <a:cubicBezTo>
                  <a:pt x="423714" y="297805"/>
                  <a:pt x="421779" y="299740"/>
                  <a:pt x="420588" y="301823"/>
                </a:cubicBezTo>
                <a:cubicBezTo>
                  <a:pt x="419398" y="303907"/>
                  <a:pt x="418579" y="306139"/>
                  <a:pt x="418133" y="308521"/>
                </a:cubicBezTo>
                <a:cubicBezTo>
                  <a:pt x="418133" y="312241"/>
                  <a:pt x="419770" y="315441"/>
                  <a:pt x="423044" y="318120"/>
                </a:cubicBezTo>
                <a:cubicBezTo>
                  <a:pt x="426318" y="320799"/>
                  <a:pt x="430039" y="323701"/>
                  <a:pt x="434206" y="326827"/>
                </a:cubicBezTo>
                <a:cubicBezTo>
                  <a:pt x="438373" y="329952"/>
                  <a:pt x="442020" y="333301"/>
                  <a:pt x="445145" y="336872"/>
                </a:cubicBezTo>
                <a:cubicBezTo>
                  <a:pt x="448270" y="340444"/>
                  <a:pt x="449982" y="345207"/>
                  <a:pt x="450280" y="351160"/>
                </a:cubicBezTo>
                <a:cubicBezTo>
                  <a:pt x="450280" y="354285"/>
                  <a:pt x="449387" y="358080"/>
                  <a:pt x="447601" y="362545"/>
                </a:cubicBezTo>
                <a:cubicBezTo>
                  <a:pt x="445815" y="367010"/>
                  <a:pt x="443582" y="371549"/>
                  <a:pt x="440903" y="376163"/>
                </a:cubicBezTo>
                <a:cubicBezTo>
                  <a:pt x="438224" y="380777"/>
                  <a:pt x="435546" y="385167"/>
                  <a:pt x="432867" y="389334"/>
                </a:cubicBezTo>
                <a:cubicBezTo>
                  <a:pt x="430188" y="393502"/>
                  <a:pt x="427732" y="396776"/>
                  <a:pt x="425500" y="399157"/>
                </a:cubicBezTo>
                <a:cubicBezTo>
                  <a:pt x="421035" y="404515"/>
                  <a:pt x="415156" y="407194"/>
                  <a:pt x="407863" y="407194"/>
                </a:cubicBezTo>
                <a:cubicBezTo>
                  <a:pt x="404887" y="407194"/>
                  <a:pt x="401762" y="406673"/>
                  <a:pt x="398487" y="405631"/>
                </a:cubicBezTo>
                <a:cubicBezTo>
                  <a:pt x="395213" y="404589"/>
                  <a:pt x="392013" y="403324"/>
                  <a:pt x="388888" y="401836"/>
                </a:cubicBezTo>
                <a:cubicBezTo>
                  <a:pt x="385763" y="400348"/>
                  <a:pt x="382786" y="399083"/>
                  <a:pt x="379958" y="398041"/>
                </a:cubicBezTo>
                <a:cubicBezTo>
                  <a:pt x="377130" y="396999"/>
                  <a:pt x="374452" y="396404"/>
                  <a:pt x="371922" y="396255"/>
                </a:cubicBezTo>
                <a:cubicBezTo>
                  <a:pt x="369094" y="396255"/>
                  <a:pt x="366936" y="396925"/>
                  <a:pt x="365447" y="398264"/>
                </a:cubicBezTo>
                <a:cubicBezTo>
                  <a:pt x="363959" y="399604"/>
                  <a:pt x="362769" y="401389"/>
                  <a:pt x="361876" y="403622"/>
                </a:cubicBezTo>
                <a:cubicBezTo>
                  <a:pt x="360983" y="405854"/>
                  <a:pt x="360462" y="408161"/>
                  <a:pt x="360313" y="410542"/>
                </a:cubicBezTo>
                <a:cubicBezTo>
                  <a:pt x="360164" y="412924"/>
                  <a:pt x="359866" y="415156"/>
                  <a:pt x="359420" y="417240"/>
                </a:cubicBezTo>
                <a:lnTo>
                  <a:pt x="356964" y="430857"/>
                </a:lnTo>
                <a:cubicBezTo>
                  <a:pt x="356071" y="435918"/>
                  <a:pt x="354211" y="439787"/>
                  <a:pt x="351383" y="442466"/>
                </a:cubicBezTo>
                <a:cubicBezTo>
                  <a:pt x="348555" y="445145"/>
                  <a:pt x="345058" y="447154"/>
                  <a:pt x="340891" y="448494"/>
                </a:cubicBezTo>
                <a:cubicBezTo>
                  <a:pt x="336724" y="449833"/>
                  <a:pt x="332482" y="450577"/>
                  <a:pt x="328166" y="450726"/>
                </a:cubicBezTo>
                <a:cubicBezTo>
                  <a:pt x="323850" y="450875"/>
                  <a:pt x="319534" y="451024"/>
                  <a:pt x="315218" y="451172"/>
                </a:cubicBezTo>
                <a:lnTo>
                  <a:pt x="306288" y="451172"/>
                </a:lnTo>
                <a:cubicBezTo>
                  <a:pt x="303014" y="451172"/>
                  <a:pt x="299740" y="450800"/>
                  <a:pt x="296466" y="450056"/>
                </a:cubicBezTo>
                <a:cubicBezTo>
                  <a:pt x="293191" y="449312"/>
                  <a:pt x="289992" y="448494"/>
                  <a:pt x="286866" y="447601"/>
                </a:cubicBezTo>
                <a:cubicBezTo>
                  <a:pt x="283741" y="446708"/>
                  <a:pt x="281285" y="445145"/>
                  <a:pt x="279499" y="442913"/>
                </a:cubicBezTo>
                <a:cubicBezTo>
                  <a:pt x="277267" y="440680"/>
                  <a:pt x="275630" y="438001"/>
                  <a:pt x="274588" y="434876"/>
                </a:cubicBezTo>
                <a:cubicBezTo>
                  <a:pt x="273546" y="431750"/>
                  <a:pt x="272802" y="428402"/>
                  <a:pt x="272355" y="424830"/>
                </a:cubicBezTo>
                <a:cubicBezTo>
                  <a:pt x="271909" y="421258"/>
                  <a:pt x="271463" y="417835"/>
                  <a:pt x="271016" y="414561"/>
                </a:cubicBezTo>
                <a:cubicBezTo>
                  <a:pt x="270570" y="411287"/>
                  <a:pt x="269974" y="408236"/>
                  <a:pt x="269230" y="405408"/>
                </a:cubicBezTo>
                <a:cubicBezTo>
                  <a:pt x="268486" y="402580"/>
                  <a:pt x="267221" y="400422"/>
                  <a:pt x="265435" y="398934"/>
                </a:cubicBezTo>
                <a:cubicBezTo>
                  <a:pt x="263649" y="397446"/>
                  <a:pt x="261268" y="396553"/>
                  <a:pt x="258291" y="396255"/>
                </a:cubicBezTo>
                <a:close/>
                <a:moveTo>
                  <a:pt x="371922" y="367680"/>
                </a:moveTo>
                <a:cubicBezTo>
                  <a:pt x="377875" y="367680"/>
                  <a:pt x="383679" y="368796"/>
                  <a:pt x="389334" y="371029"/>
                </a:cubicBezTo>
                <a:cubicBezTo>
                  <a:pt x="394990" y="373261"/>
                  <a:pt x="400497" y="375493"/>
                  <a:pt x="405854" y="377726"/>
                </a:cubicBezTo>
                <a:cubicBezTo>
                  <a:pt x="411807" y="370136"/>
                  <a:pt x="416719" y="361876"/>
                  <a:pt x="420588" y="352946"/>
                </a:cubicBezTo>
                <a:cubicBezTo>
                  <a:pt x="416719" y="349672"/>
                  <a:pt x="412924" y="346546"/>
                  <a:pt x="409203" y="343570"/>
                </a:cubicBezTo>
                <a:cubicBezTo>
                  <a:pt x="405482" y="340593"/>
                  <a:pt x="402208" y="337468"/>
                  <a:pt x="399380" y="334194"/>
                </a:cubicBezTo>
                <a:cubicBezTo>
                  <a:pt x="396553" y="330919"/>
                  <a:pt x="394171" y="327199"/>
                  <a:pt x="392237" y="323031"/>
                </a:cubicBezTo>
                <a:cubicBezTo>
                  <a:pt x="390302" y="318864"/>
                  <a:pt x="389409" y="314027"/>
                  <a:pt x="389558" y="308521"/>
                </a:cubicBezTo>
                <a:cubicBezTo>
                  <a:pt x="389558" y="303014"/>
                  <a:pt x="390376" y="298252"/>
                  <a:pt x="392013" y="294233"/>
                </a:cubicBezTo>
                <a:cubicBezTo>
                  <a:pt x="393650" y="290215"/>
                  <a:pt x="395957" y="286494"/>
                  <a:pt x="398934" y="283071"/>
                </a:cubicBezTo>
                <a:cubicBezTo>
                  <a:pt x="401910" y="279648"/>
                  <a:pt x="405259" y="276597"/>
                  <a:pt x="408980" y="273918"/>
                </a:cubicBezTo>
                <a:cubicBezTo>
                  <a:pt x="412700" y="271239"/>
                  <a:pt x="416570" y="268114"/>
                  <a:pt x="420588" y="264542"/>
                </a:cubicBezTo>
                <a:cubicBezTo>
                  <a:pt x="418654" y="260077"/>
                  <a:pt x="416570" y="255761"/>
                  <a:pt x="414338" y="251594"/>
                </a:cubicBezTo>
                <a:cubicBezTo>
                  <a:pt x="412105" y="247427"/>
                  <a:pt x="409426" y="243408"/>
                  <a:pt x="406301" y="239539"/>
                </a:cubicBezTo>
                <a:cubicBezTo>
                  <a:pt x="400943" y="241474"/>
                  <a:pt x="395362" y="243557"/>
                  <a:pt x="389558" y="245790"/>
                </a:cubicBezTo>
                <a:cubicBezTo>
                  <a:pt x="383753" y="248022"/>
                  <a:pt x="377875" y="249213"/>
                  <a:pt x="371922" y="249362"/>
                </a:cubicBezTo>
                <a:cubicBezTo>
                  <a:pt x="367159" y="249362"/>
                  <a:pt x="362694" y="248617"/>
                  <a:pt x="358527" y="247129"/>
                </a:cubicBezTo>
                <a:cubicBezTo>
                  <a:pt x="354360" y="245641"/>
                  <a:pt x="350490" y="243408"/>
                  <a:pt x="346918" y="240432"/>
                </a:cubicBezTo>
                <a:cubicBezTo>
                  <a:pt x="343347" y="237455"/>
                  <a:pt x="340519" y="234107"/>
                  <a:pt x="338435" y="230386"/>
                </a:cubicBezTo>
                <a:cubicBezTo>
                  <a:pt x="336352" y="226665"/>
                  <a:pt x="334714" y="222349"/>
                  <a:pt x="333524" y="217438"/>
                </a:cubicBezTo>
                <a:lnTo>
                  <a:pt x="329729" y="195337"/>
                </a:lnTo>
                <a:cubicBezTo>
                  <a:pt x="327645" y="195039"/>
                  <a:pt x="325636" y="194816"/>
                  <a:pt x="323701" y="194667"/>
                </a:cubicBezTo>
                <a:cubicBezTo>
                  <a:pt x="321766" y="194518"/>
                  <a:pt x="319757" y="194444"/>
                  <a:pt x="317674" y="194444"/>
                </a:cubicBezTo>
                <a:lnTo>
                  <a:pt x="309190" y="194444"/>
                </a:lnTo>
                <a:cubicBezTo>
                  <a:pt x="306363" y="194444"/>
                  <a:pt x="303609" y="194742"/>
                  <a:pt x="300930" y="195337"/>
                </a:cubicBezTo>
                <a:lnTo>
                  <a:pt x="296912" y="217438"/>
                </a:lnTo>
                <a:cubicBezTo>
                  <a:pt x="296019" y="222200"/>
                  <a:pt x="294456" y="226516"/>
                  <a:pt x="292224" y="230386"/>
                </a:cubicBezTo>
                <a:cubicBezTo>
                  <a:pt x="289992" y="234255"/>
                  <a:pt x="287089" y="237604"/>
                  <a:pt x="283518" y="240432"/>
                </a:cubicBezTo>
                <a:cubicBezTo>
                  <a:pt x="279946" y="243260"/>
                  <a:pt x="276076" y="245418"/>
                  <a:pt x="271909" y="246906"/>
                </a:cubicBezTo>
                <a:cubicBezTo>
                  <a:pt x="267742" y="248394"/>
                  <a:pt x="263203" y="249213"/>
                  <a:pt x="258291" y="249362"/>
                </a:cubicBezTo>
                <a:cubicBezTo>
                  <a:pt x="252487" y="249362"/>
                  <a:pt x="246683" y="248171"/>
                  <a:pt x="240878" y="245790"/>
                </a:cubicBezTo>
                <a:cubicBezTo>
                  <a:pt x="235074" y="243408"/>
                  <a:pt x="229567" y="241250"/>
                  <a:pt x="224358" y="239316"/>
                </a:cubicBezTo>
                <a:cubicBezTo>
                  <a:pt x="218554" y="246906"/>
                  <a:pt x="213717" y="255166"/>
                  <a:pt x="209848" y="264096"/>
                </a:cubicBezTo>
                <a:cubicBezTo>
                  <a:pt x="213717" y="267370"/>
                  <a:pt x="217512" y="270495"/>
                  <a:pt x="221233" y="273472"/>
                </a:cubicBezTo>
                <a:cubicBezTo>
                  <a:pt x="224954" y="276448"/>
                  <a:pt x="228228" y="279574"/>
                  <a:pt x="231056" y="282848"/>
                </a:cubicBezTo>
                <a:cubicBezTo>
                  <a:pt x="233883" y="286122"/>
                  <a:pt x="236265" y="289843"/>
                  <a:pt x="238199" y="294010"/>
                </a:cubicBezTo>
                <a:cubicBezTo>
                  <a:pt x="240134" y="298177"/>
                  <a:pt x="241027" y="303014"/>
                  <a:pt x="240878" y="308521"/>
                </a:cubicBezTo>
                <a:cubicBezTo>
                  <a:pt x="240878" y="314176"/>
                  <a:pt x="240060" y="319013"/>
                  <a:pt x="238423" y="323031"/>
                </a:cubicBezTo>
                <a:cubicBezTo>
                  <a:pt x="236786" y="327050"/>
                  <a:pt x="234479" y="330696"/>
                  <a:pt x="231502" y="333970"/>
                </a:cubicBezTo>
                <a:cubicBezTo>
                  <a:pt x="228526" y="337245"/>
                  <a:pt x="225177" y="340296"/>
                  <a:pt x="221456" y="343123"/>
                </a:cubicBezTo>
                <a:cubicBezTo>
                  <a:pt x="217736" y="345951"/>
                  <a:pt x="213866" y="349076"/>
                  <a:pt x="209848" y="352499"/>
                </a:cubicBezTo>
                <a:cubicBezTo>
                  <a:pt x="211782" y="356964"/>
                  <a:pt x="213940" y="361280"/>
                  <a:pt x="216322" y="365447"/>
                </a:cubicBezTo>
                <a:cubicBezTo>
                  <a:pt x="218703" y="369615"/>
                  <a:pt x="221307" y="373633"/>
                  <a:pt x="224135" y="377503"/>
                </a:cubicBezTo>
                <a:cubicBezTo>
                  <a:pt x="229344" y="375568"/>
                  <a:pt x="234925" y="373410"/>
                  <a:pt x="240878" y="371029"/>
                </a:cubicBezTo>
                <a:cubicBezTo>
                  <a:pt x="246831" y="368647"/>
                  <a:pt x="252785" y="367457"/>
                  <a:pt x="258738" y="367457"/>
                </a:cubicBezTo>
                <a:cubicBezTo>
                  <a:pt x="263351" y="367457"/>
                  <a:pt x="267816" y="368275"/>
                  <a:pt x="272132" y="369912"/>
                </a:cubicBezTo>
                <a:cubicBezTo>
                  <a:pt x="276448" y="371549"/>
                  <a:pt x="280318" y="373782"/>
                  <a:pt x="283741" y="376610"/>
                </a:cubicBezTo>
                <a:cubicBezTo>
                  <a:pt x="287164" y="379437"/>
                  <a:pt x="289992" y="382786"/>
                  <a:pt x="292224" y="386655"/>
                </a:cubicBezTo>
                <a:cubicBezTo>
                  <a:pt x="294456" y="390525"/>
                  <a:pt x="296019" y="394841"/>
                  <a:pt x="296912" y="399604"/>
                </a:cubicBezTo>
                <a:lnTo>
                  <a:pt x="300707" y="421705"/>
                </a:lnTo>
                <a:cubicBezTo>
                  <a:pt x="303088" y="422002"/>
                  <a:pt x="305470" y="422225"/>
                  <a:pt x="307851" y="422374"/>
                </a:cubicBezTo>
                <a:cubicBezTo>
                  <a:pt x="310232" y="422523"/>
                  <a:pt x="312614" y="422597"/>
                  <a:pt x="314995" y="422597"/>
                </a:cubicBezTo>
                <a:cubicBezTo>
                  <a:pt x="317525" y="422597"/>
                  <a:pt x="319906" y="422523"/>
                  <a:pt x="322138" y="422374"/>
                </a:cubicBezTo>
                <a:cubicBezTo>
                  <a:pt x="324371" y="422225"/>
                  <a:pt x="326827" y="422002"/>
                  <a:pt x="329505" y="421705"/>
                </a:cubicBezTo>
                <a:cubicBezTo>
                  <a:pt x="330398" y="417240"/>
                  <a:pt x="331143" y="412849"/>
                  <a:pt x="331738" y="408533"/>
                </a:cubicBezTo>
                <a:cubicBezTo>
                  <a:pt x="332333" y="404217"/>
                  <a:pt x="333226" y="400050"/>
                  <a:pt x="334417" y="396032"/>
                </a:cubicBezTo>
                <a:cubicBezTo>
                  <a:pt x="335607" y="392013"/>
                  <a:pt x="337393" y="388218"/>
                  <a:pt x="339775" y="384646"/>
                </a:cubicBezTo>
                <a:cubicBezTo>
                  <a:pt x="342156" y="381074"/>
                  <a:pt x="345356" y="377800"/>
                  <a:pt x="349374" y="374824"/>
                </a:cubicBezTo>
                <a:cubicBezTo>
                  <a:pt x="352648" y="372442"/>
                  <a:pt x="356220" y="370656"/>
                  <a:pt x="360090" y="369466"/>
                </a:cubicBezTo>
                <a:cubicBezTo>
                  <a:pt x="363959" y="368275"/>
                  <a:pt x="367903" y="367680"/>
                  <a:pt x="371922" y="367680"/>
                </a:cubicBezTo>
                <a:close/>
                <a:moveTo>
                  <a:pt x="265881" y="308521"/>
                </a:moveTo>
                <a:cubicBezTo>
                  <a:pt x="265881" y="301823"/>
                  <a:pt x="267146" y="295498"/>
                  <a:pt x="269677" y="289545"/>
                </a:cubicBezTo>
                <a:cubicBezTo>
                  <a:pt x="272207" y="283592"/>
                  <a:pt x="275779" y="278309"/>
                  <a:pt x="280392" y="273695"/>
                </a:cubicBezTo>
                <a:cubicBezTo>
                  <a:pt x="285006" y="269081"/>
                  <a:pt x="290215" y="265584"/>
                  <a:pt x="296019" y="263203"/>
                </a:cubicBezTo>
                <a:cubicBezTo>
                  <a:pt x="301823" y="260821"/>
                  <a:pt x="308149" y="259482"/>
                  <a:pt x="314995" y="259184"/>
                </a:cubicBezTo>
                <a:cubicBezTo>
                  <a:pt x="321841" y="259184"/>
                  <a:pt x="328240" y="260449"/>
                  <a:pt x="334194" y="262979"/>
                </a:cubicBezTo>
                <a:cubicBezTo>
                  <a:pt x="340147" y="265509"/>
                  <a:pt x="345430" y="269007"/>
                  <a:pt x="350044" y="273472"/>
                </a:cubicBezTo>
                <a:cubicBezTo>
                  <a:pt x="354657" y="277937"/>
                  <a:pt x="358155" y="283146"/>
                  <a:pt x="360536" y="289099"/>
                </a:cubicBezTo>
                <a:cubicBezTo>
                  <a:pt x="362917" y="295052"/>
                  <a:pt x="364257" y="301526"/>
                  <a:pt x="364555" y="308521"/>
                </a:cubicBezTo>
                <a:cubicBezTo>
                  <a:pt x="364555" y="315218"/>
                  <a:pt x="363289" y="321543"/>
                  <a:pt x="360759" y="327496"/>
                </a:cubicBezTo>
                <a:cubicBezTo>
                  <a:pt x="358229" y="333449"/>
                  <a:pt x="354657" y="338733"/>
                  <a:pt x="350044" y="343347"/>
                </a:cubicBezTo>
                <a:cubicBezTo>
                  <a:pt x="345430" y="347960"/>
                  <a:pt x="340221" y="351458"/>
                  <a:pt x="334417" y="353839"/>
                </a:cubicBezTo>
                <a:cubicBezTo>
                  <a:pt x="328613" y="356220"/>
                  <a:pt x="322213" y="357560"/>
                  <a:pt x="315218" y="357857"/>
                </a:cubicBezTo>
                <a:cubicBezTo>
                  <a:pt x="308521" y="357857"/>
                  <a:pt x="302196" y="356592"/>
                  <a:pt x="296242" y="354062"/>
                </a:cubicBezTo>
                <a:cubicBezTo>
                  <a:pt x="290289" y="351532"/>
                  <a:pt x="285006" y="347960"/>
                  <a:pt x="280392" y="343347"/>
                </a:cubicBezTo>
                <a:cubicBezTo>
                  <a:pt x="275779" y="338733"/>
                  <a:pt x="272281" y="333524"/>
                  <a:pt x="269900" y="327720"/>
                </a:cubicBezTo>
                <a:cubicBezTo>
                  <a:pt x="267519" y="321915"/>
                  <a:pt x="266179" y="315516"/>
                  <a:pt x="265881" y="308521"/>
                </a:cubicBezTo>
                <a:close/>
                <a:moveTo>
                  <a:pt x="315218" y="329059"/>
                </a:moveTo>
                <a:cubicBezTo>
                  <a:pt x="321022" y="329059"/>
                  <a:pt x="325934" y="327124"/>
                  <a:pt x="329952" y="323255"/>
                </a:cubicBezTo>
                <a:cubicBezTo>
                  <a:pt x="333970" y="319385"/>
                  <a:pt x="335980" y="314474"/>
                  <a:pt x="335980" y="308521"/>
                </a:cubicBezTo>
                <a:cubicBezTo>
                  <a:pt x="335980" y="305693"/>
                  <a:pt x="335459" y="303014"/>
                  <a:pt x="334417" y="300484"/>
                </a:cubicBezTo>
                <a:cubicBezTo>
                  <a:pt x="333375" y="297954"/>
                  <a:pt x="331887" y="295721"/>
                  <a:pt x="329952" y="293787"/>
                </a:cubicBezTo>
                <a:cubicBezTo>
                  <a:pt x="328017" y="291852"/>
                  <a:pt x="325785" y="290364"/>
                  <a:pt x="323255" y="289322"/>
                </a:cubicBezTo>
                <a:cubicBezTo>
                  <a:pt x="320725" y="288280"/>
                  <a:pt x="318046" y="287759"/>
                  <a:pt x="315218" y="287759"/>
                </a:cubicBezTo>
                <a:cubicBezTo>
                  <a:pt x="312390" y="287759"/>
                  <a:pt x="309711" y="288280"/>
                  <a:pt x="307181" y="289322"/>
                </a:cubicBezTo>
                <a:cubicBezTo>
                  <a:pt x="304651" y="290364"/>
                  <a:pt x="302493" y="291852"/>
                  <a:pt x="300707" y="293787"/>
                </a:cubicBezTo>
                <a:cubicBezTo>
                  <a:pt x="298921" y="295721"/>
                  <a:pt x="297433" y="297954"/>
                  <a:pt x="296242" y="300484"/>
                </a:cubicBezTo>
                <a:cubicBezTo>
                  <a:pt x="295052" y="303014"/>
                  <a:pt x="294456" y="305693"/>
                  <a:pt x="294456" y="308521"/>
                </a:cubicBezTo>
                <a:cubicBezTo>
                  <a:pt x="294456" y="311497"/>
                  <a:pt x="294977" y="314176"/>
                  <a:pt x="296019" y="316557"/>
                </a:cubicBezTo>
                <a:cubicBezTo>
                  <a:pt x="297061" y="318939"/>
                  <a:pt x="298549" y="321097"/>
                  <a:pt x="300484" y="323031"/>
                </a:cubicBezTo>
                <a:cubicBezTo>
                  <a:pt x="302419" y="324966"/>
                  <a:pt x="304651" y="326455"/>
                  <a:pt x="307181" y="327496"/>
                </a:cubicBezTo>
                <a:cubicBezTo>
                  <a:pt x="309711" y="328538"/>
                  <a:pt x="312390" y="329059"/>
                  <a:pt x="315218" y="329059"/>
                </a:cubicBezTo>
                <a:close/>
              </a:path>
            </a:pathLst>
          </a:custGeom>
          <a:solidFill>
            <a:schemeClr val="tx1"/>
          </a:solidFill>
          <a:ln w="223"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50" b="0" i="0" u="none" strike="noStrike" kern="1200" cap="none" spc="0" normalizeH="0" baseline="0" noProof="0">
              <a:ln>
                <a:noFill/>
              </a:ln>
              <a:solidFill>
                <a:srgbClr val="000000"/>
              </a:solidFill>
              <a:effectLst/>
              <a:uLnTx/>
              <a:uFillTx/>
              <a:latin typeface="Segoe UI"/>
              <a:ea typeface="+mn-ea"/>
              <a:cs typeface="+mn-cs"/>
            </a:endParaRPr>
          </a:p>
        </p:txBody>
      </p:sp>
      <p:sp>
        <p:nvSpPr>
          <p:cNvPr id="12" name="TextBox 11">
            <a:extLst>
              <a:ext uri="{FF2B5EF4-FFF2-40B4-BE49-F238E27FC236}">
                <a16:creationId xmlns:a16="http://schemas.microsoft.com/office/drawing/2014/main" id="{99F8107E-3E6D-DAB7-2921-0B82A5608B61}"/>
              </a:ext>
            </a:extLst>
          </p:cNvPr>
          <p:cNvSpPr txBox="1"/>
          <p:nvPr/>
        </p:nvSpPr>
        <p:spPr>
          <a:xfrm>
            <a:off x="457194" y="2395211"/>
            <a:ext cx="2613283" cy="388936"/>
          </a:xfrm>
          <a:prstGeom prst="rect">
            <a:avLst/>
          </a:prstGeom>
          <a:noFill/>
        </p:spPr>
        <p:txBody>
          <a:bodyPr wrap="square" lIns="0" tIns="0" rIns="0" bIns="0" anchor="ctr">
            <a:noAutofit/>
          </a:bodyPr>
          <a:lstStyle/>
          <a:p>
            <a:pPr marL="0" marR="0" lvl="0" indent="0" algn="ctr" defTabSz="761970" rtl="0" eaLnBrk="1" fontAlgn="base" latinLnBrk="0" hangingPunct="1">
              <a:lnSpc>
                <a:spcPct val="100000"/>
              </a:lnSpc>
              <a:spcBef>
                <a:spcPts val="0"/>
              </a:spcBef>
              <a:spcAft>
                <a:spcPts val="0"/>
              </a:spcAft>
              <a:buClr>
                <a:srgbClr val="60CDFF"/>
              </a:buClr>
              <a:buSzPct val="100000"/>
              <a:buFontTx/>
              <a:buNone/>
              <a:tabLst/>
              <a:defRPr/>
            </a:pPr>
            <a:r>
              <a:rPr kumimoji="0" lang="en-US" sz="2000" b="1" i="0" u="none" strike="noStrike" kern="1200" cap="none" spc="0" normalizeH="0" baseline="0" noProof="0" dirty="0">
                <a:ln>
                  <a:noFill/>
                </a:ln>
                <a:solidFill>
                  <a:srgbClr val="000000"/>
                </a:solidFill>
                <a:effectLst/>
                <a:uLnTx/>
                <a:uFillTx/>
                <a:latin typeface="Segoe UI Semibold"/>
                <a:ea typeface="+mn-ea"/>
                <a:cs typeface="+mn-cs"/>
              </a:rPr>
              <a:t>Security</a:t>
            </a:r>
          </a:p>
        </p:txBody>
      </p:sp>
      <p:sp>
        <p:nvSpPr>
          <p:cNvPr id="13" name="TextBox 12">
            <a:extLst>
              <a:ext uri="{FF2B5EF4-FFF2-40B4-BE49-F238E27FC236}">
                <a16:creationId xmlns:a16="http://schemas.microsoft.com/office/drawing/2014/main" id="{9DF4C29D-D1E6-B11F-BE75-1358B805A373}"/>
              </a:ext>
            </a:extLst>
          </p:cNvPr>
          <p:cNvSpPr txBox="1"/>
          <p:nvPr/>
        </p:nvSpPr>
        <p:spPr>
          <a:xfrm>
            <a:off x="3344627" y="2395211"/>
            <a:ext cx="2613283" cy="388936"/>
          </a:xfrm>
          <a:prstGeom prst="rect">
            <a:avLst/>
          </a:prstGeom>
          <a:noFill/>
        </p:spPr>
        <p:txBody>
          <a:bodyPr wrap="square" lIns="0" tIns="0" rIns="0" bIns="0" anchor="ctr">
            <a:noAutofit/>
          </a:bodyPr>
          <a:lstStyle/>
          <a:p>
            <a:pPr marL="0" marR="0" lvl="0" indent="0" algn="ctr" defTabSz="761970" rtl="0" eaLnBrk="1" fontAlgn="base" latinLnBrk="0" hangingPunct="1">
              <a:lnSpc>
                <a:spcPct val="100000"/>
              </a:lnSpc>
              <a:spcBef>
                <a:spcPts val="0"/>
              </a:spcBef>
              <a:spcAft>
                <a:spcPts val="0"/>
              </a:spcAft>
              <a:buClr>
                <a:srgbClr val="60CDFF"/>
              </a:buClr>
              <a:buSzPct val="100000"/>
              <a:buFontTx/>
              <a:buNone/>
              <a:tabLst/>
              <a:defRPr/>
            </a:pPr>
            <a:r>
              <a:rPr kumimoji="0" lang="en-US" sz="2000" b="1" i="0" u="none" strike="noStrike" kern="1200" cap="none" spc="0" normalizeH="0" baseline="0" noProof="0">
                <a:ln>
                  <a:noFill/>
                </a:ln>
                <a:solidFill>
                  <a:srgbClr val="000000"/>
                </a:solidFill>
                <a:effectLst/>
                <a:uLnTx/>
                <a:uFillTx/>
                <a:latin typeface="Segoe UI Semibold"/>
                <a:ea typeface="+mn-ea"/>
                <a:cs typeface="+mn-cs"/>
              </a:rPr>
              <a:t>IT management</a:t>
            </a:r>
            <a:endParaRPr kumimoji="0" lang="en-US" sz="20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4" name="TextBox 13">
            <a:extLst>
              <a:ext uri="{FF2B5EF4-FFF2-40B4-BE49-F238E27FC236}">
                <a16:creationId xmlns:a16="http://schemas.microsoft.com/office/drawing/2014/main" id="{5DE5347B-B5B2-555B-2A30-4D2B041BA37E}"/>
              </a:ext>
            </a:extLst>
          </p:cNvPr>
          <p:cNvSpPr txBox="1"/>
          <p:nvPr/>
        </p:nvSpPr>
        <p:spPr>
          <a:xfrm>
            <a:off x="9119494" y="2395211"/>
            <a:ext cx="2613283" cy="388936"/>
          </a:xfrm>
          <a:prstGeom prst="rect">
            <a:avLst/>
          </a:prstGeom>
          <a:noFill/>
        </p:spPr>
        <p:txBody>
          <a:bodyPr wrap="square" lIns="0" tIns="0" rIns="0" bIns="0" anchor="ctr">
            <a:noAutofit/>
          </a:bodyPr>
          <a:lstStyle/>
          <a:p>
            <a:pPr marL="0" marR="0" lvl="0" indent="0" algn="ctr" defTabSz="761970" rtl="0" eaLnBrk="1" fontAlgn="base" latinLnBrk="0" hangingPunct="1">
              <a:lnSpc>
                <a:spcPct val="100000"/>
              </a:lnSpc>
              <a:spcBef>
                <a:spcPts val="0"/>
              </a:spcBef>
              <a:spcAft>
                <a:spcPts val="0"/>
              </a:spcAft>
              <a:buClr>
                <a:srgbClr val="60CDFF"/>
              </a:buClr>
              <a:buSzPct val="100000"/>
              <a:buFontTx/>
              <a:buNone/>
              <a:tabLst/>
              <a:defRPr/>
            </a:pPr>
            <a:r>
              <a:rPr kumimoji="0" lang="en-US" sz="2000" b="1" i="0" u="none" strike="noStrike" kern="1200" cap="none" spc="0" normalizeH="0" baseline="0" noProof="0" dirty="0">
                <a:ln>
                  <a:noFill/>
                </a:ln>
                <a:solidFill>
                  <a:srgbClr val="000000"/>
                </a:solidFill>
                <a:effectLst/>
                <a:uLnTx/>
                <a:uFillTx/>
                <a:latin typeface="Segoe UI Semibold"/>
                <a:ea typeface="+mn-ea"/>
                <a:cs typeface="+mn-cs"/>
              </a:rPr>
              <a:t>A.I. Now</a:t>
            </a:r>
          </a:p>
        </p:txBody>
      </p:sp>
      <p:sp>
        <p:nvSpPr>
          <p:cNvPr id="15" name="TextBox 14">
            <a:extLst>
              <a:ext uri="{FF2B5EF4-FFF2-40B4-BE49-F238E27FC236}">
                <a16:creationId xmlns:a16="http://schemas.microsoft.com/office/drawing/2014/main" id="{95A4EA1B-4A7C-9285-BF07-1E58F232D57F}"/>
              </a:ext>
            </a:extLst>
          </p:cNvPr>
          <p:cNvSpPr txBox="1"/>
          <p:nvPr/>
        </p:nvSpPr>
        <p:spPr>
          <a:xfrm>
            <a:off x="6232060" y="2395211"/>
            <a:ext cx="2613283" cy="388936"/>
          </a:xfrm>
          <a:prstGeom prst="rect">
            <a:avLst/>
          </a:prstGeom>
          <a:noFill/>
        </p:spPr>
        <p:txBody>
          <a:bodyPr wrap="square" lIns="0" tIns="0" rIns="0" bIns="0" anchor="ctr">
            <a:noAutofit/>
          </a:bodyPr>
          <a:lstStyle/>
          <a:p>
            <a:pPr marL="0" marR="0" lvl="0" indent="0" algn="ctr" defTabSz="761970" rtl="0" eaLnBrk="1" fontAlgn="base" latinLnBrk="0" hangingPunct="1">
              <a:lnSpc>
                <a:spcPct val="100000"/>
              </a:lnSpc>
              <a:spcBef>
                <a:spcPts val="0"/>
              </a:spcBef>
              <a:spcAft>
                <a:spcPts val="0"/>
              </a:spcAft>
              <a:buClr>
                <a:srgbClr val="60CDFF"/>
              </a:buClr>
              <a:buSzPct val="100000"/>
              <a:buFontTx/>
              <a:buNone/>
              <a:tabLst/>
              <a:defRPr/>
            </a:pPr>
            <a:r>
              <a:rPr kumimoji="0" lang="en-US" sz="2000" b="1" i="0" u="none" strike="noStrike" kern="1200" cap="none" spc="0" normalizeH="0" baseline="0" noProof="0">
                <a:ln>
                  <a:noFill/>
                </a:ln>
                <a:solidFill>
                  <a:srgbClr val="000000"/>
                </a:solidFill>
                <a:effectLst/>
                <a:uLnTx/>
                <a:uFillTx/>
                <a:latin typeface="Segoe UI Semibold"/>
                <a:ea typeface="+mn-ea"/>
                <a:cs typeface="+mn-cs"/>
              </a:rPr>
              <a:t>User experiences</a:t>
            </a:r>
          </a:p>
        </p:txBody>
      </p:sp>
      <p:cxnSp>
        <p:nvCxnSpPr>
          <p:cNvPr id="16" name="Straight Connector 15">
            <a:extLst>
              <a:ext uri="{FF2B5EF4-FFF2-40B4-BE49-F238E27FC236}">
                <a16:creationId xmlns:a16="http://schemas.microsoft.com/office/drawing/2014/main" id="{F3A99A27-7BDB-0BE8-AC0D-786DB3AF76E0}"/>
              </a:ext>
            </a:extLst>
          </p:cNvPr>
          <p:cNvCxnSpPr>
            <a:cxnSpLocks/>
          </p:cNvCxnSpPr>
          <p:nvPr/>
        </p:nvCxnSpPr>
        <p:spPr>
          <a:xfrm>
            <a:off x="3207552" y="1376582"/>
            <a:ext cx="0" cy="3333509"/>
          </a:xfrm>
          <a:prstGeom prst="line">
            <a:avLst/>
          </a:prstGeom>
          <a:ln w="15875" cap="rnd">
            <a:solidFill>
              <a:schemeClr val="tx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C534F7B-36EE-397F-5282-51607591C1A0}"/>
              </a:ext>
            </a:extLst>
          </p:cNvPr>
          <p:cNvCxnSpPr>
            <a:cxnSpLocks/>
          </p:cNvCxnSpPr>
          <p:nvPr/>
        </p:nvCxnSpPr>
        <p:spPr>
          <a:xfrm>
            <a:off x="6094985" y="1376582"/>
            <a:ext cx="0" cy="3333509"/>
          </a:xfrm>
          <a:prstGeom prst="line">
            <a:avLst/>
          </a:prstGeom>
          <a:ln w="15875" cap="rnd">
            <a:solidFill>
              <a:schemeClr val="tx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9140DED-E5D2-69D5-8077-CB64DE82ADFE}"/>
              </a:ext>
            </a:extLst>
          </p:cNvPr>
          <p:cNvCxnSpPr>
            <a:cxnSpLocks/>
          </p:cNvCxnSpPr>
          <p:nvPr/>
        </p:nvCxnSpPr>
        <p:spPr>
          <a:xfrm>
            <a:off x="8982418" y="1376582"/>
            <a:ext cx="0" cy="3333509"/>
          </a:xfrm>
          <a:prstGeom prst="line">
            <a:avLst/>
          </a:prstGeom>
          <a:ln w="15875" cap="rnd">
            <a:solidFill>
              <a:schemeClr val="tx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C3524F6-C600-C160-B81F-10191A48AF72}"/>
              </a:ext>
            </a:extLst>
          </p:cNvPr>
          <p:cNvCxnSpPr>
            <a:cxnSpLocks/>
          </p:cNvCxnSpPr>
          <p:nvPr/>
        </p:nvCxnSpPr>
        <p:spPr>
          <a:xfrm flipH="1">
            <a:off x="457200" y="5321319"/>
            <a:ext cx="4695928" cy="0"/>
          </a:xfrm>
          <a:prstGeom prst="line">
            <a:avLst/>
          </a:prstGeom>
          <a:ln w="15875" cap="rnd">
            <a:solidFill>
              <a:schemeClr val="tx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8B016DE-D915-697E-E866-758763F49560}"/>
              </a:ext>
            </a:extLst>
          </p:cNvPr>
          <p:cNvCxnSpPr>
            <a:cxnSpLocks/>
          </p:cNvCxnSpPr>
          <p:nvPr/>
        </p:nvCxnSpPr>
        <p:spPr>
          <a:xfrm flipH="1">
            <a:off x="7038873" y="5321319"/>
            <a:ext cx="4695928" cy="0"/>
          </a:xfrm>
          <a:prstGeom prst="line">
            <a:avLst/>
          </a:prstGeom>
          <a:ln w="15875" cap="rnd">
            <a:solidFill>
              <a:schemeClr val="tx1">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72003242-D3B6-8EF6-C845-69AD77235356}"/>
              </a:ext>
            </a:extLst>
          </p:cNvPr>
          <p:cNvSpPr txBox="1"/>
          <p:nvPr/>
        </p:nvSpPr>
        <p:spPr>
          <a:xfrm>
            <a:off x="457200" y="3043337"/>
            <a:ext cx="2613283" cy="505731"/>
          </a:xfrm>
          <a:prstGeom prst="rect">
            <a:avLst/>
          </a:prstGeom>
          <a:noFill/>
        </p:spPr>
        <p:txBody>
          <a:bodyPr wrap="square" lIns="0" tIns="0" rIns="0" bIns="0" anchor="t">
            <a:noAutofit/>
          </a:bodyPr>
          <a:lstStyle/>
          <a:p>
            <a:pPr marL="0" marR="0" lvl="0" indent="0" algn="ctr" defTabSz="761970" rtl="0" eaLnBrk="1" fontAlgn="base" latinLnBrk="0" hangingPunct="1">
              <a:lnSpc>
                <a:spcPct val="100000"/>
              </a:lnSpc>
              <a:spcBef>
                <a:spcPts val="0"/>
              </a:spcBef>
              <a:spcAft>
                <a:spcPts val="0"/>
              </a:spcAft>
              <a:buClr>
                <a:srgbClr val="60CDFF"/>
              </a:buClr>
              <a:buSzPct val="100000"/>
              <a:buFontTx/>
              <a:buNone/>
              <a:tabLst/>
              <a:defRPr/>
            </a:pPr>
            <a:r>
              <a:rPr kumimoji="0" lang="en-US" sz="1600" b="1" i="0" u="none" strike="noStrike" kern="1200" cap="none" spc="0" normalizeH="0" baseline="0" noProof="0" dirty="0">
                <a:ln>
                  <a:noFill/>
                </a:ln>
                <a:solidFill>
                  <a:srgbClr val="0078D4"/>
                </a:solidFill>
                <a:effectLst/>
                <a:uLnTx/>
                <a:uFillTx/>
                <a:latin typeface="Segoe UI Semibold"/>
                <a:ea typeface="+mn-ea"/>
                <a:cs typeface="+mn-cs"/>
              </a:rPr>
              <a:t>Improve Security </a:t>
            </a:r>
            <a:r>
              <a:rPr kumimoji="0" lang="en-US" sz="1600" b="1" i="0" u="none" strike="noStrike" kern="1200" cap="none" spc="0" normalizeH="0" baseline="0" noProof="0" dirty="0">
                <a:ln>
                  <a:noFill/>
                </a:ln>
                <a:solidFill>
                  <a:srgbClr val="000000"/>
                </a:solidFill>
                <a:effectLst/>
                <a:uLnTx/>
                <a:uFillTx/>
                <a:latin typeface="Segoe UI Semibold"/>
                <a:ea typeface="+mn-ea"/>
                <a:cs typeface="+mn-cs"/>
              </a:rPr>
              <a:t>while reducing cost and complexity</a:t>
            </a:r>
          </a:p>
        </p:txBody>
      </p:sp>
      <p:sp>
        <p:nvSpPr>
          <p:cNvPr id="27" name="TextBox 26">
            <a:extLst>
              <a:ext uri="{FF2B5EF4-FFF2-40B4-BE49-F238E27FC236}">
                <a16:creationId xmlns:a16="http://schemas.microsoft.com/office/drawing/2014/main" id="{C16537F9-BB5C-7869-DD53-7C1F51E88473}"/>
              </a:ext>
            </a:extLst>
          </p:cNvPr>
          <p:cNvSpPr txBox="1"/>
          <p:nvPr/>
        </p:nvSpPr>
        <p:spPr>
          <a:xfrm>
            <a:off x="3344633" y="3043337"/>
            <a:ext cx="2613283" cy="505731"/>
          </a:xfrm>
          <a:prstGeom prst="rect">
            <a:avLst/>
          </a:prstGeom>
          <a:noFill/>
        </p:spPr>
        <p:txBody>
          <a:bodyPr wrap="square" lIns="0" tIns="0" rIns="0" bIns="0" anchor="t">
            <a:noAutofit/>
          </a:bodyPr>
          <a:lstStyle/>
          <a:p>
            <a:pPr marL="0" marR="0" lvl="0" indent="0" algn="ctr" defTabSz="761970" rtl="0" eaLnBrk="1" fontAlgn="base" latinLnBrk="0" hangingPunct="1">
              <a:lnSpc>
                <a:spcPct val="100000"/>
              </a:lnSpc>
              <a:spcBef>
                <a:spcPts val="0"/>
              </a:spcBef>
              <a:spcAft>
                <a:spcPts val="0"/>
              </a:spcAft>
              <a:buClr>
                <a:srgbClr val="60CDFF"/>
              </a:buClr>
              <a:buSzPct val="100000"/>
              <a:buFontTx/>
              <a:buNone/>
              <a:tabLst/>
              <a:defRPr/>
            </a:pPr>
            <a:r>
              <a:rPr kumimoji="0" lang="en-US" sz="1600" b="1" i="0" u="none" strike="noStrike" kern="1200" cap="none" spc="0" normalizeH="0" baseline="0" noProof="0" dirty="0">
                <a:ln>
                  <a:noFill/>
                </a:ln>
                <a:solidFill>
                  <a:srgbClr val="0078D4"/>
                </a:solidFill>
                <a:effectLst/>
                <a:uLnTx/>
                <a:uFillTx/>
                <a:latin typeface="Segoe UI Semibold"/>
                <a:ea typeface="+mn-ea"/>
                <a:cs typeface="+mn-cs"/>
              </a:rPr>
              <a:t>Easy to Manage </a:t>
            </a:r>
            <a:r>
              <a:rPr kumimoji="0" lang="en-US" sz="1600" b="1" i="0" u="none" strike="noStrike" kern="1200" cap="none" spc="0" normalizeH="0" baseline="0" noProof="0" dirty="0">
                <a:ln>
                  <a:noFill/>
                </a:ln>
                <a:solidFill>
                  <a:srgbClr val="000000"/>
                </a:solidFill>
                <a:effectLst/>
                <a:uLnTx/>
                <a:uFillTx/>
                <a:latin typeface="Segoe UI Semibold"/>
                <a:ea typeface="+mn-ea"/>
                <a:cs typeface="+mn-cs"/>
              </a:rPr>
              <a:t>and compatible to how you run your business</a:t>
            </a:r>
            <a:endParaRPr kumimoji="0" lang="en-US" sz="1600" b="0" i="0" u="none" strike="noStrike" kern="1200" cap="none" spc="0" normalizeH="0" baseline="0" noProof="0" dirty="0">
              <a:ln>
                <a:noFill/>
              </a:ln>
              <a:solidFill>
                <a:srgbClr val="000000"/>
              </a:solidFill>
              <a:effectLst/>
              <a:uLnTx/>
              <a:uFillTx/>
              <a:latin typeface="Segoe UI Semibold"/>
              <a:ea typeface="+mn-ea"/>
              <a:cs typeface="+mn-cs"/>
            </a:endParaRPr>
          </a:p>
        </p:txBody>
      </p:sp>
      <p:sp>
        <p:nvSpPr>
          <p:cNvPr id="28" name="TextBox 27">
            <a:extLst>
              <a:ext uri="{FF2B5EF4-FFF2-40B4-BE49-F238E27FC236}">
                <a16:creationId xmlns:a16="http://schemas.microsoft.com/office/drawing/2014/main" id="{652F67F7-E0A1-C358-09C9-DDCD4EBC2721}"/>
              </a:ext>
            </a:extLst>
          </p:cNvPr>
          <p:cNvSpPr txBox="1"/>
          <p:nvPr/>
        </p:nvSpPr>
        <p:spPr>
          <a:xfrm>
            <a:off x="9119500" y="3043337"/>
            <a:ext cx="2613283" cy="505731"/>
          </a:xfrm>
          <a:prstGeom prst="rect">
            <a:avLst/>
          </a:prstGeom>
          <a:noFill/>
        </p:spPr>
        <p:txBody>
          <a:bodyPr wrap="square" lIns="0" tIns="0" rIns="0" bIns="0" anchor="t">
            <a:noAutofit/>
          </a:bodyPr>
          <a:lstStyle/>
          <a:p>
            <a:pPr marL="0" marR="0" lvl="0" indent="0" algn="ctr" defTabSz="761970" rtl="0" eaLnBrk="1" fontAlgn="base" latinLnBrk="0" hangingPunct="1">
              <a:lnSpc>
                <a:spcPct val="100000"/>
              </a:lnSpc>
              <a:spcBef>
                <a:spcPts val="0"/>
              </a:spcBef>
              <a:spcAft>
                <a:spcPts val="0"/>
              </a:spcAft>
              <a:buClr>
                <a:srgbClr val="60CDFF"/>
              </a:buClr>
              <a:buSzPct val="100000"/>
              <a:buFontTx/>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Rethink the workplace with A.I.</a:t>
            </a:r>
            <a:r>
              <a:rPr kumimoji="0" lang="en-US" sz="1600" b="0" i="0" u="none" strike="noStrike" kern="1200" cap="none" spc="0" normalizeH="0" baseline="0" noProof="0" dirty="0">
                <a:ln>
                  <a:noFill/>
                </a:ln>
                <a:solidFill>
                  <a:srgbClr val="99EBFF"/>
                </a:solidFill>
                <a:effectLst/>
                <a:uLnTx/>
                <a:uFillTx/>
                <a:latin typeface="Segoe UI Semibold"/>
                <a:ea typeface="+mn-ea"/>
                <a:cs typeface="+mn-cs"/>
              </a:rPr>
              <a:t> </a:t>
            </a: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in Windows 11 Pro</a:t>
            </a:r>
            <a:endParaRPr kumimoji="0" lang="en-US" sz="1600" b="1" i="0" u="none" strike="noStrike" kern="1200" cap="none" spc="0" normalizeH="0" baseline="0" noProof="0" dirty="0">
              <a:ln>
                <a:noFill/>
              </a:ln>
              <a:solidFill>
                <a:srgbClr val="000000"/>
              </a:solidFill>
              <a:effectLst/>
              <a:uLnTx/>
              <a:uFillTx/>
              <a:latin typeface="Segoe UI Semibold"/>
              <a:ea typeface="+mn-ea"/>
              <a:cs typeface="+mn-cs"/>
            </a:endParaRPr>
          </a:p>
        </p:txBody>
      </p:sp>
      <p:sp>
        <p:nvSpPr>
          <p:cNvPr id="29" name="TextBox 28">
            <a:extLst>
              <a:ext uri="{FF2B5EF4-FFF2-40B4-BE49-F238E27FC236}">
                <a16:creationId xmlns:a16="http://schemas.microsoft.com/office/drawing/2014/main" id="{2F43CDD7-E36B-BA98-3EF2-5E599BCE4645}"/>
              </a:ext>
            </a:extLst>
          </p:cNvPr>
          <p:cNvSpPr txBox="1"/>
          <p:nvPr/>
        </p:nvSpPr>
        <p:spPr>
          <a:xfrm>
            <a:off x="6232066" y="3043337"/>
            <a:ext cx="2613283" cy="505731"/>
          </a:xfrm>
          <a:prstGeom prst="rect">
            <a:avLst/>
          </a:prstGeom>
          <a:noFill/>
        </p:spPr>
        <p:txBody>
          <a:bodyPr wrap="square" lIns="0" tIns="0" rIns="0" bIns="0" anchor="t">
            <a:noAutofit/>
          </a:bodyPr>
          <a:lstStyle/>
          <a:p>
            <a:pPr marL="0" marR="0" lvl="0" indent="0" algn="ctr" defTabSz="761970" rtl="0" eaLnBrk="1" fontAlgn="base" latinLnBrk="0" hangingPunct="1">
              <a:lnSpc>
                <a:spcPct val="100000"/>
              </a:lnSpc>
              <a:spcBef>
                <a:spcPts val="0"/>
              </a:spcBef>
              <a:spcAft>
                <a:spcPts val="0"/>
              </a:spcAft>
              <a:buClr>
                <a:srgbClr val="60CDFF"/>
              </a:buClr>
              <a:buSzPct val="100000"/>
              <a:buFontTx/>
              <a:buNone/>
              <a:tabLst/>
              <a:defRPr/>
            </a:pPr>
            <a:r>
              <a:rPr kumimoji="0" lang="en-US" sz="1600" b="1" i="0" u="none" strike="noStrike" kern="1200" cap="none" spc="0" normalizeH="0" baseline="0" noProof="0" dirty="0">
                <a:ln>
                  <a:noFill/>
                </a:ln>
                <a:solidFill>
                  <a:srgbClr val="000000"/>
                </a:solidFill>
                <a:effectLst/>
                <a:uLnTx/>
                <a:uFillTx/>
                <a:latin typeface="Segoe UI Semibold"/>
                <a:ea typeface="+mn-ea"/>
                <a:cs typeface="+mn-cs"/>
              </a:rPr>
              <a:t>Enabling exceptional work from anywhere </a:t>
            </a:r>
          </a:p>
        </p:txBody>
      </p:sp>
      <p:sp>
        <p:nvSpPr>
          <p:cNvPr id="32" name="TextBox 31">
            <a:extLst>
              <a:ext uri="{FF2B5EF4-FFF2-40B4-BE49-F238E27FC236}">
                <a16:creationId xmlns:a16="http://schemas.microsoft.com/office/drawing/2014/main" id="{122DB759-EB37-B6E3-8E5D-5935E79BE226}"/>
              </a:ext>
            </a:extLst>
          </p:cNvPr>
          <p:cNvSpPr txBox="1"/>
          <p:nvPr/>
        </p:nvSpPr>
        <p:spPr>
          <a:xfrm>
            <a:off x="85711" y="6211874"/>
            <a:ext cx="1210628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Segoe UI"/>
                <a:ea typeface="+mn-ea"/>
                <a:cs typeface="+mn-cs"/>
              </a:rPr>
              <a:t>1. </a:t>
            </a:r>
            <a:r>
              <a:rPr kumimoji="0" lang="en-US" sz="600" b="0" i="0" u="none" strike="noStrike" kern="1200" cap="none" spc="0" normalizeH="0" baseline="0" noProof="0" dirty="0">
                <a:ln>
                  <a:noFill/>
                </a:ln>
                <a:solidFill>
                  <a:srgbClr val="000000"/>
                </a:solidFill>
                <a:effectLst/>
                <a:uLnTx/>
                <a:uFillTx/>
                <a:latin typeface="Segoe UI"/>
                <a:ea typeface="+mn-ea"/>
                <a:cs typeface="+mn-cs"/>
              </a:rPr>
              <a:t>Windows 11 Survey Report. </a:t>
            </a:r>
            <a:r>
              <a:rPr kumimoji="0" lang="en-US" sz="600" b="0" i="0" u="none" strike="noStrike" kern="1200" cap="none" spc="0" normalizeH="0" baseline="0" noProof="0" dirty="0" err="1">
                <a:ln>
                  <a:noFill/>
                </a:ln>
                <a:solidFill>
                  <a:srgbClr val="000000"/>
                </a:solidFill>
                <a:effectLst/>
                <a:uLnTx/>
                <a:uFillTx/>
                <a:latin typeface="Segoe UI"/>
                <a:ea typeface="+mn-ea"/>
                <a:cs typeface="+mn-cs"/>
              </a:rPr>
              <a:t>Techaisle</a:t>
            </a:r>
            <a:r>
              <a:rPr kumimoji="0" lang="en-US" sz="600" b="0" i="0" u="none" strike="noStrike" kern="1200" cap="none" spc="0" normalizeH="0" baseline="0" noProof="0" dirty="0">
                <a:ln>
                  <a:noFill/>
                </a:ln>
                <a:solidFill>
                  <a:srgbClr val="000000"/>
                </a:solidFill>
                <a:effectLst/>
                <a:uLnTx/>
                <a:uFillTx/>
                <a:latin typeface="Segoe UI"/>
                <a:ea typeface="+mn-ea"/>
                <a:cs typeface="+mn-cs"/>
              </a:rPr>
              <a:t>, February 2022. Windows 11 results are in comparison with Windows 10 devices.  </a:t>
            </a:r>
            <a:r>
              <a:rPr kumimoji="0" lang="en-US" sz="600" b="1" i="0" u="none" strike="noStrike" kern="1200" cap="none" spc="0" normalizeH="0" baseline="0" noProof="0" dirty="0">
                <a:ln>
                  <a:noFill/>
                </a:ln>
                <a:solidFill>
                  <a:srgbClr val="000000"/>
                </a:solidFill>
                <a:effectLst/>
                <a:uLnTx/>
                <a:uFillTx/>
                <a:latin typeface="Segoe UI"/>
                <a:ea typeface="+mn-ea"/>
                <a:cs typeface="+mn-cs"/>
              </a:rPr>
              <a:t>2. </a:t>
            </a:r>
            <a:r>
              <a:rPr kumimoji="0" lang="en-US" sz="600" b="0" i="0" u="none" strike="noStrike" kern="1200" cap="none" spc="0" normalizeH="0" baseline="0" noProof="0" dirty="0">
                <a:ln>
                  <a:noFill/>
                </a:ln>
                <a:solidFill>
                  <a:srgbClr val="000000"/>
                </a:solidFill>
                <a:effectLst/>
                <a:uLnTx/>
                <a:uFillTx/>
                <a:latin typeface="Segoe UI"/>
                <a:ea typeface="+mn-ea"/>
                <a:cs typeface="+mn-cs"/>
              </a:rPr>
              <a:t>App Assure program data. </a:t>
            </a:r>
            <a:r>
              <a:rPr kumimoji="0" lang="en-US" sz="600" b="1" i="0" u="none" strike="noStrike" kern="1200" cap="none" spc="0" normalizeH="0" baseline="0" noProof="0" dirty="0">
                <a:ln>
                  <a:noFill/>
                </a:ln>
                <a:solidFill>
                  <a:srgbClr val="000000"/>
                </a:solidFill>
                <a:effectLst/>
                <a:uLnTx/>
                <a:uFillTx/>
                <a:latin typeface="Segoe UI"/>
                <a:ea typeface="+mn-ea"/>
                <a:cs typeface="+mn-cs"/>
              </a:rPr>
              <a:t>3. </a:t>
            </a:r>
            <a:r>
              <a:rPr kumimoji="0" lang="en-US" sz="600" b="0" i="0" u="none" strike="noStrike" kern="1200" cap="none" spc="0" normalizeH="0" baseline="0" noProof="0" dirty="0">
                <a:ln>
                  <a:noFill/>
                </a:ln>
                <a:solidFill>
                  <a:srgbClr val="000000"/>
                </a:solidFill>
                <a:effectLst/>
                <a:uLnTx/>
                <a:uFillTx/>
                <a:latin typeface="Segoe UI"/>
                <a:ea typeface="+mn-ea"/>
                <a:cs typeface="+mn-cs"/>
              </a:rPr>
              <a:t>Commissioned study delivered by Forrester Consulting “</a:t>
            </a:r>
            <a:r>
              <a:rPr kumimoji="0" lang="en-US" sz="600" b="0" i="1" u="none" strike="noStrike" kern="1200" cap="none" spc="0" normalizeH="0" baseline="0" noProof="0" dirty="0">
                <a:ln>
                  <a:noFill/>
                </a:ln>
                <a:solidFill>
                  <a:srgbClr val="000000"/>
                </a:solidFill>
                <a:effectLst/>
                <a:uLnTx/>
                <a:uFillTx/>
                <a:latin typeface="Segoe UI"/>
                <a:ea typeface="+mn-ea"/>
                <a:cs typeface="+mn-cs"/>
              </a:rPr>
              <a:t>The Total Economic Impact™ of Windows 11 Pro Devices</a:t>
            </a:r>
            <a:r>
              <a:rPr kumimoji="0" lang="en-US" sz="600" b="0" i="0" u="none" strike="noStrike" kern="1200" cap="none" spc="0" normalizeH="0" baseline="0" noProof="0" dirty="0">
                <a:ln>
                  <a:noFill/>
                </a:ln>
                <a:solidFill>
                  <a:srgbClr val="000000"/>
                </a:solidFill>
                <a:effectLst/>
                <a:uLnTx/>
                <a:uFillTx/>
                <a:latin typeface="Segoe UI"/>
                <a:ea typeface="+mn-ea"/>
                <a:cs typeface="+mn-cs"/>
              </a:rPr>
              <a:t>”, December 2022.  Note, quantified benefits reflect results over three years combined into a single composite organization that generates $1 billion in annual revenue, has 2,000 employees, refreshes hardware on a four-year cycle, and migrates the entirety of its workforce to Windows 11 devices. </a:t>
            </a:r>
            <a:r>
              <a:rPr kumimoji="0" lang="en-US" sz="600" b="1" i="0" u="none" strike="noStrike" kern="1200" cap="none" spc="0" normalizeH="0" baseline="0" noProof="0" dirty="0">
                <a:ln>
                  <a:noFill/>
                </a:ln>
                <a:solidFill>
                  <a:srgbClr val="000000"/>
                </a:solidFill>
                <a:effectLst/>
                <a:uLnTx/>
                <a:uFillTx/>
                <a:latin typeface="Segoe UI"/>
                <a:ea typeface="+mn-ea"/>
                <a:cs typeface="+mn-cs"/>
              </a:rPr>
              <a:t>4. </a:t>
            </a:r>
            <a:r>
              <a:rPr kumimoji="0" lang="en-US" sz="600" b="0" i="0" u="none" strike="noStrike" kern="1200" cap="none" spc="0" normalizeH="0" baseline="0" noProof="0" dirty="0">
                <a:ln>
                  <a:noFill/>
                </a:ln>
                <a:solidFill>
                  <a:srgbClr val="000000"/>
                </a:solidFill>
                <a:effectLst/>
                <a:uLnTx/>
                <a:uFillTx/>
                <a:latin typeface="Segoe UI"/>
                <a:ea typeface="+mn-ea"/>
                <a:cs typeface="+mn-cs"/>
              </a:rPr>
              <a:t>Compared to Windows 10 devices. </a:t>
            </a:r>
            <a:r>
              <a:rPr kumimoji="0" lang="en-US" sz="600" b="0" i="0" u="sng" strike="noStrike" kern="1200" cap="none" spc="0" normalizeH="0" baseline="0" noProof="0" dirty="0">
                <a:ln>
                  <a:noFill/>
                </a:ln>
                <a:solidFill>
                  <a:srgbClr val="000000"/>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Improve your day-to-day experience with Windows 11 Pro laptops</a:t>
            </a:r>
            <a:r>
              <a:rPr kumimoji="0" lang="en-US" sz="600" b="0" i="0" u="none" strike="noStrike" kern="1200" cap="none" spc="0" normalizeH="0" baseline="0" noProof="0" dirty="0">
                <a:ln>
                  <a:noFill/>
                </a:ln>
                <a:solidFill>
                  <a:srgbClr val="000000"/>
                </a:solidFill>
                <a:effectLst/>
                <a:uLnTx/>
                <a:uFillTx/>
                <a:latin typeface="Segoe UI"/>
                <a:ea typeface="+mn-ea"/>
                <a:cs typeface="+mn-cs"/>
              </a:rPr>
              <a:t>, Principled Technologies, February 2023.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 name="Graphic 9">
            <a:extLst>
              <a:ext uri="{FF2B5EF4-FFF2-40B4-BE49-F238E27FC236}">
                <a16:creationId xmlns:a16="http://schemas.microsoft.com/office/drawing/2014/main" id="{C6A8E811-BD39-8C16-6358-63F05C6BDBAE}"/>
              </a:ext>
              <a:ext uri="{C183D7F6-B498-43B3-948B-1728B52AA6E4}">
                <adec:decorative xmlns:adec="http://schemas.microsoft.com/office/drawing/2017/decorative" val="1"/>
              </a:ext>
            </a:extLst>
          </p:cNvPr>
          <p:cNvSpPr/>
          <p:nvPr/>
        </p:nvSpPr>
        <p:spPr>
          <a:xfrm>
            <a:off x="10141598" y="1693607"/>
            <a:ext cx="491961" cy="485935"/>
          </a:xfrm>
          <a:custGeom>
            <a:avLst/>
            <a:gdLst>
              <a:gd name="connsiteX0" fmla="*/ 163234 w 518640"/>
              <a:gd name="connsiteY0" fmla="*/ 362469 h 512289"/>
              <a:gd name="connsiteX1" fmla="*/ 187320 w 518640"/>
              <a:gd name="connsiteY1" fmla="*/ 369994 h 512289"/>
              <a:gd name="connsiteX2" fmla="*/ 187320 w 518640"/>
              <a:gd name="connsiteY2" fmla="*/ 369880 h 512289"/>
              <a:gd name="connsiteX3" fmla="*/ 210209 w 518640"/>
              <a:gd name="connsiteY3" fmla="*/ 363143 h 512289"/>
              <a:gd name="connsiteX4" fmla="*/ 225555 w 518640"/>
              <a:gd name="connsiteY4" fmla="*/ 345063 h 512289"/>
              <a:gd name="connsiteX5" fmla="*/ 243217 w 518640"/>
              <a:gd name="connsiteY5" fmla="*/ 292015 h 512289"/>
              <a:gd name="connsiteX6" fmla="*/ 263236 w 518640"/>
              <a:gd name="connsiteY6" fmla="*/ 260133 h 512289"/>
              <a:gd name="connsiteX7" fmla="*/ 295570 w 518640"/>
              <a:gd name="connsiteY7" fmla="*/ 240447 h 512289"/>
              <a:gd name="connsiteX8" fmla="*/ 346799 w 518640"/>
              <a:gd name="connsiteY8" fmla="*/ 223998 h 512289"/>
              <a:gd name="connsiteX9" fmla="*/ 367167 w 518640"/>
              <a:gd name="connsiteY9" fmla="*/ 208676 h 512289"/>
              <a:gd name="connsiteX10" fmla="*/ 374586 w 518640"/>
              <a:gd name="connsiteY10" fmla="*/ 184474 h 512289"/>
              <a:gd name="connsiteX11" fmla="*/ 366242 w 518640"/>
              <a:gd name="connsiteY11" fmla="*/ 160566 h 512289"/>
              <a:gd name="connsiteX12" fmla="*/ 345301 w 518640"/>
              <a:gd name="connsiteY12" fmla="*/ 146020 h 512289"/>
              <a:gd name="connsiteX13" fmla="*/ 294734 w 518640"/>
              <a:gd name="connsiteY13" fmla="*/ 129798 h 512289"/>
              <a:gd name="connsiteX14" fmla="*/ 262274 w 518640"/>
              <a:gd name="connsiteY14" fmla="*/ 109989 h 512289"/>
              <a:gd name="connsiteX15" fmla="*/ 242237 w 518640"/>
              <a:gd name="connsiteY15" fmla="*/ 77917 h 512289"/>
              <a:gd name="connsiteX16" fmla="*/ 225584 w 518640"/>
              <a:gd name="connsiteY16" fmla="*/ 27345 h 512289"/>
              <a:gd name="connsiteX17" fmla="*/ 210212 w 518640"/>
              <a:gd name="connsiteY17" fmla="*/ 7429 h 512289"/>
              <a:gd name="connsiteX18" fmla="*/ 186000 w 518640"/>
              <a:gd name="connsiteY18" fmla="*/ 1 h 512289"/>
              <a:gd name="connsiteX19" fmla="*/ 161911 w 518640"/>
              <a:gd name="connsiteY19" fmla="*/ 7813 h 512289"/>
              <a:gd name="connsiteX20" fmla="*/ 146867 w 518640"/>
              <a:gd name="connsiteY20" fmla="*/ 27971 h 512289"/>
              <a:gd name="connsiteX21" fmla="*/ 130069 w 518640"/>
              <a:gd name="connsiteY21" fmla="*/ 78970 h 512289"/>
              <a:gd name="connsiteX22" fmla="*/ 110489 w 518640"/>
              <a:gd name="connsiteY22" fmla="*/ 110178 h 512289"/>
              <a:gd name="connsiteX23" fmla="*/ 79071 w 518640"/>
              <a:gd name="connsiteY23" fmla="*/ 129798 h 512289"/>
              <a:gd name="connsiteX24" fmla="*/ 27870 w 518640"/>
              <a:gd name="connsiteY24" fmla="*/ 146048 h 512289"/>
              <a:gd name="connsiteX25" fmla="*/ 11771 w 518640"/>
              <a:gd name="connsiteY25" fmla="*/ 156196 h 512289"/>
              <a:gd name="connsiteX26" fmla="*/ 1959 w 518640"/>
              <a:gd name="connsiteY26" fmla="*/ 172379 h 512289"/>
              <a:gd name="connsiteX27" fmla="*/ 499 w 518640"/>
              <a:gd name="connsiteY27" fmla="*/ 191187 h 512289"/>
              <a:gd name="connsiteX28" fmla="*/ 7701 w 518640"/>
              <a:gd name="connsiteY28" fmla="*/ 208659 h 512289"/>
              <a:gd name="connsiteX29" fmla="*/ 28360 w 518640"/>
              <a:gd name="connsiteY29" fmla="*/ 223856 h 512289"/>
              <a:gd name="connsiteX30" fmla="*/ 78898 w 518640"/>
              <a:gd name="connsiteY30" fmla="*/ 240049 h 512289"/>
              <a:gd name="connsiteX31" fmla="*/ 111427 w 518640"/>
              <a:gd name="connsiteY31" fmla="*/ 259970 h 512289"/>
              <a:gd name="connsiteX32" fmla="*/ 118285 w 518640"/>
              <a:gd name="connsiteY32" fmla="*/ 267626 h 512289"/>
              <a:gd name="connsiteX33" fmla="*/ 131395 w 518640"/>
              <a:gd name="connsiteY33" fmla="*/ 292015 h 512289"/>
              <a:gd name="connsiteX34" fmla="*/ 148048 w 518640"/>
              <a:gd name="connsiteY34" fmla="*/ 342530 h 512289"/>
              <a:gd name="connsiteX35" fmla="*/ 163234 w 518640"/>
              <a:gd name="connsiteY35" fmla="*/ 362469 h 512289"/>
              <a:gd name="connsiteX36" fmla="*/ 384132 w 518640"/>
              <a:gd name="connsiteY36" fmla="*/ 506114 h 512289"/>
              <a:gd name="connsiteX37" fmla="*/ 372318 w 518640"/>
              <a:gd name="connsiteY37" fmla="*/ 490490 h 512289"/>
              <a:gd name="connsiteX38" fmla="*/ 362868 w 518640"/>
              <a:gd name="connsiteY38" fmla="*/ 461831 h 512289"/>
              <a:gd name="connsiteX39" fmla="*/ 353849 w 518640"/>
              <a:gd name="connsiteY39" fmla="*/ 447346 h 512289"/>
              <a:gd name="connsiteX40" fmla="*/ 339213 w 518640"/>
              <a:gd name="connsiteY40" fmla="*/ 438409 h 512289"/>
              <a:gd name="connsiteX41" fmla="*/ 310659 w 518640"/>
              <a:gd name="connsiteY41" fmla="*/ 429217 h 512289"/>
              <a:gd name="connsiteX42" fmla="*/ 294207 w 518640"/>
              <a:gd name="connsiteY42" fmla="*/ 417150 h 512289"/>
              <a:gd name="connsiteX43" fmla="*/ 288156 w 518640"/>
              <a:gd name="connsiteY43" fmla="*/ 398396 h 512289"/>
              <a:gd name="connsiteX44" fmla="*/ 294293 w 518640"/>
              <a:gd name="connsiteY44" fmla="*/ 379527 h 512289"/>
              <a:gd name="connsiteX45" fmla="*/ 310371 w 518640"/>
              <a:gd name="connsiteY45" fmla="*/ 367660 h 512289"/>
              <a:gd name="connsiteX46" fmla="*/ 339357 w 518640"/>
              <a:gd name="connsiteY46" fmla="*/ 358382 h 512289"/>
              <a:gd name="connsiteX47" fmla="*/ 353619 w 518640"/>
              <a:gd name="connsiteY47" fmla="*/ 349369 h 512289"/>
              <a:gd name="connsiteX48" fmla="*/ 362407 w 518640"/>
              <a:gd name="connsiteY48" fmla="*/ 335074 h 512289"/>
              <a:gd name="connsiteX49" fmla="*/ 371742 w 518640"/>
              <a:gd name="connsiteY49" fmla="*/ 306843 h 512289"/>
              <a:gd name="connsiteX50" fmla="*/ 383616 w 518640"/>
              <a:gd name="connsiteY50" fmla="*/ 290960 h 512289"/>
              <a:gd name="connsiteX51" fmla="*/ 402601 w 518640"/>
              <a:gd name="connsiteY51" fmla="*/ 284784 h 512289"/>
              <a:gd name="connsiteX52" fmla="*/ 421706 w 518640"/>
              <a:gd name="connsiteY52" fmla="*/ 290593 h 512289"/>
              <a:gd name="connsiteX53" fmla="*/ 433891 w 518640"/>
              <a:gd name="connsiteY53" fmla="*/ 306245 h 512289"/>
              <a:gd name="connsiteX54" fmla="*/ 443371 w 518640"/>
              <a:gd name="connsiteY54" fmla="*/ 335103 h 512289"/>
              <a:gd name="connsiteX55" fmla="*/ 452424 w 518640"/>
              <a:gd name="connsiteY55" fmla="*/ 349452 h 512289"/>
              <a:gd name="connsiteX56" fmla="*/ 466997 w 518640"/>
              <a:gd name="connsiteY56" fmla="*/ 358325 h 512289"/>
              <a:gd name="connsiteX57" fmla="*/ 495579 w 518640"/>
              <a:gd name="connsiteY57" fmla="*/ 367518 h 512289"/>
              <a:gd name="connsiteX58" fmla="*/ 512080 w 518640"/>
              <a:gd name="connsiteY58" fmla="*/ 379044 h 512289"/>
              <a:gd name="connsiteX59" fmla="*/ 518635 w 518640"/>
              <a:gd name="connsiteY59" fmla="*/ 397923 h 512289"/>
              <a:gd name="connsiteX60" fmla="*/ 512772 w 518640"/>
              <a:gd name="connsiteY60" fmla="*/ 417028 h 512289"/>
              <a:gd name="connsiteX61" fmla="*/ 496703 w 518640"/>
              <a:gd name="connsiteY61" fmla="*/ 429132 h 512289"/>
              <a:gd name="connsiteX62" fmla="*/ 467487 w 518640"/>
              <a:gd name="connsiteY62" fmla="*/ 438495 h 512289"/>
              <a:gd name="connsiteX63" fmla="*/ 452936 w 518640"/>
              <a:gd name="connsiteY63" fmla="*/ 447431 h 512289"/>
              <a:gd name="connsiteX64" fmla="*/ 443918 w 518640"/>
              <a:gd name="connsiteY64" fmla="*/ 461888 h 512289"/>
              <a:gd name="connsiteX65" fmla="*/ 434640 w 518640"/>
              <a:gd name="connsiteY65" fmla="*/ 490034 h 512289"/>
              <a:gd name="connsiteX66" fmla="*/ 422395 w 518640"/>
              <a:gd name="connsiteY66" fmla="*/ 506256 h 512289"/>
              <a:gd name="connsiteX67" fmla="*/ 403407 w 518640"/>
              <a:gd name="connsiteY67" fmla="*/ 512289 h 512289"/>
              <a:gd name="connsiteX68" fmla="*/ 384132 w 518640"/>
              <a:gd name="connsiteY68" fmla="*/ 506114 h 51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18640" h="512289">
                <a:moveTo>
                  <a:pt x="163234" y="362469"/>
                </a:moveTo>
                <a:cubicBezTo>
                  <a:pt x="170274" y="367392"/>
                  <a:pt x="178694" y="370022"/>
                  <a:pt x="187320" y="369994"/>
                </a:cubicBezTo>
                <a:lnTo>
                  <a:pt x="187320" y="369880"/>
                </a:lnTo>
                <a:cubicBezTo>
                  <a:pt x="195454" y="369897"/>
                  <a:pt x="203412" y="367555"/>
                  <a:pt x="210209" y="363143"/>
                </a:cubicBezTo>
                <a:cubicBezTo>
                  <a:pt x="217006" y="358729"/>
                  <a:pt x="222342" y="352443"/>
                  <a:pt x="225555" y="345063"/>
                </a:cubicBezTo>
                <a:lnTo>
                  <a:pt x="243217" y="292015"/>
                </a:lnTo>
                <a:cubicBezTo>
                  <a:pt x="247297" y="279997"/>
                  <a:pt x="254149" y="269083"/>
                  <a:pt x="263236" y="260133"/>
                </a:cubicBezTo>
                <a:cubicBezTo>
                  <a:pt x="272321" y="251182"/>
                  <a:pt x="283391" y="244443"/>
                  <a:pt x="295570" y="240447"/>
                </a:cubicBezTo>
                <a:lnTo>
                  <a:pt x="346799" y="223998"/>
                </a:lnTo>
                <a:cubicBezTo>
                  <a:pt x="355051" y="221135"/>
                  <a:pt x="362179" y="215773"/>
                  <a:pt x="367167" y="208676"/>
                </a:cubicBezTo>
                <a:cubicBezTo>
                  <a:pt x="372157" y="201581"/>
                  <a:pt x="374753" y="193111"/>
                  <a:pt x="374586" y="184474"/>
                </a:cubicBezTo>
                <a:cubicBezTo>
                  <a:pt x="374419" y="175836"/>
                  <a:pt x="371500" y="167470"/>
                  <a:pt x="366242" y="160566"/>
                </a:cubicBezTo>
                <a:cubicBezTo>
                  <a:pt x="360983" y="153662"/>
                  <a:pt x="353656" y="148572"/>
                  <a:pt x="345301" y="146020"/>
                </a:cubicBezTo>
                <a:lnTo>
                  <a:pt x="294734" y="129798"/>
                </a:lnTo>
                <a:cubicBezTo>
                  <a:pt x="282503" y="125778"/>
                  <a:pt x="271387" y="118995"/>
                  <a:pt x="262274" y="109989"/>
                </a:cubicBezTo>
                <a:cubicBezTo>
                  <a:pt x="253160" y="100982"/>
                  <a:pt x="246300" y="90001"/>
                  <a:pt x="242237" y="77917"/>
                </a:cubicBezTo>
                <a:lnTo>
                  <a:pt x="225584" y="27345"/>
                </a:lnTo>
                <a:cubicBezTo>
                  <a:pt x="222679" y="19290"/>
                  <a:pt x="217306" y="12329"/>
                  <a:pt x="210212" y="7429"/>
                </a:cubicBezTo>
                <a:cubicBezTo>
                  <a:pt x="203118" y="2529"/>
                  <a:pt x="194656" y="-68"/>
                  <a:pt x="186000" y="1"/>
                </a:cubicBezTo>
                <a:cubicBezTo>
                  <a:pt x="177344" y="70"/>
                  <a:pt x="168924" y="2801"/>
                  <a:pt x="161911" y="7813"/>
                </a:cubicBezTo>
                <a:cubicBezTo>
                  <a:pt x="154898" y="12826"/>
                  <a:pt x="149640" y="19871"/>
                  <a:pt x="146867" y="27971"/>
                </a:cubicBezTo>
                <a:lnTo>
                  <a:pt x="130069" y="78970"/>
                </a:lnTo>
                <a:cubicBezTo>
                  <a:pt x="126019" y="90702"/>
                  <a:pt x="119324" y="101374"/>
                  <a:pt x="110489" y="110178"/>
                </a:cubicBezTo>
                <a:cubicBezTo>
                  <a:pt x="101655" y="118983"/>
                  <a:pt x="90912" y="125692"/>
                  <a:pt x="79071" y="129798"/>
                </a:cubicBezTo>
                <a:lnTo>
                  <a:pt x="27870" y="146048"/>
                </a:lnTo>
                <a:cubicBezTo>
                  <a:pt x="21780" y="148152"/>
                  <a:pt x="16269" y="151626"/>
                  <a:pt x="11771" y="156196"/>
                </a:cubicBezTo>
                <a:cubicBezTo>
                  <a:pt x="7274" y="160766"/>
                  <a:pt x="3915" y="166306"/>
                  <a:pt x="1959" y="172379"/>
                </a:cubicBezTo>
                <a:cubicBezTo>
                  <a:pt x="2" y="178452"/>
                  <a:pt x="-497" y="184891"/>
                  <a:pt x="499" y="191187"/>
                </a:cubicBezTo>
                <a:cubicBezTo>
                  <a:pt x="1496" y="197484"/>
                  <a:pt x="3962" y="203465"/>
                  <a:pt x="7701" y="208659"/>
                </a:cubicBezTo>
                <a:cubicBezTo>
                  <a:pt x="12798" y="215745"/>
                  <a:pt x="20027" y="221061"/>
                  <a:pt x="28360" y="223856"/>
                </a:cubicBezTo>
                <a:lnTo>
                  <a:pt x="78898" y="240049"/>
                </a:lnTo>
                <a:cubicBezTo>
                  <a:pt x="91161" y="244102"/>
                  <a:pt x="102299" y="250923"/>
                  <a:pt x="111427" y="259970"/>
                </a:cubicBezTo>
                <a:cubicBezTo>
                  <a:pt x="113878" y="262372"/>
                  <a:pt x="116169" y="264931"/>
                  <a:pt x="118285" y="267626"/>
                </a:cubicBezTo>
                <a:cubicBezTo>
                  <a:pt x="124024" y="274963"/>
                  <a:pt x="128457" y="283210"/>
                  <a:pt x="131395" y="292015"/>
                </a:cubicBezTo>
                <a:lnTo>
                  <a:pt x="148048" y="342530"/>
                </a:lnTo>
                <a:cubicBezTo>
                  <a:pt x="150885" y="350576"/>
                  <a:pt x="156195" y="357546"/>
                  <a:pt x="163234" y="362469"/>
                </a:cubicBezTo>
                <a:close/>
                <a:moveTo>
                  <a:pt x="384132" y="506114"/>
                </a:moveTo>
                <a:cubicBezTo>
                  <a:pt x="378643" y="502249"/>
                  <a:pt x="374511" y="496785"/>
                  <a:pt x="372318" y="490490"/>
                </a:cubicBezTo>
                <a:lnTo>
                  <a:pt x="362868" y="461831"/>
                </a:lnTo>
                <a:cubicBezTo>
                  <a:pt x="361030" y="456381"/>
                  <a:pt x="357944" y="451424"/>
                  <a:pt x="353849" y="447346"/>
                </a:cubicBezTo>
                <a:cubicBezTo>
                  <a:pt x="349744" y="443279"/>
                  <a:pt x="344730" y="440217"/>
                  <a:pt x="339213" y="438409"/>
                </a:cubicBezTo>
                <a:lnTo>
                  <a:pt x="310659" y="429217"/>
                </a:lnTo>
                <a:cubicBezTo>
                  <a:pt x="304021" y="427017"/>
                  <a:pt x="298258" y="422791"/>
                  <a:pt x="294207" y="417150"/>
                </a:cubicBezTo>
                <a:cubicBezTo>
                  <a:pt x="290251" y="411678"/>
                  <a:pt x="288133" y="405118"/>
                  <a:pt x="288156" y="398396"/>
                </a:cubicBezTo>
                <a:cubicBezTo>
                  <a:pt x="288165" y="391628"/>
                  <a:pt x="290309" y="385034"/>
                  <a:pt x="294293" y="379527"/>
                </a:cubicBezTo>
                <a:cubicBezTo>
                  <a:pt x="298247" y="373992"/>
                  <a:pt x="303877" y="369837"/>
                  <a:pt x="310371" y="367660"/>
                </a:cubicBezTo>
                <a:lnTo>
                  <a:pt x="339357" y="358382"/>
                </a:lnTo>
                <a:cubicBezTo>
                  <a:pt x="344745" y="356493"/>
                  <a:pt x="349623" y="353410"/>
                  <a:pt x="353619" y="349369"/>
                </a:cubicBezTo>
                <a:cubicBezTo>
                  <a:pt x="357615" y="345328"/>
                  <a:pt x="360620" y="340439"/>
                  <a:pt x="362407" y="335074"/>
                </a:cubicBezTo>
                <a:lnTo>
                  <a:pt x="371742" y="306843"/>
                </a:lnTo>
                <a:cubicBezTo>
                  <a:pt x="373938" y="300462"/>
                  <a:pt x="378087" y="294910"/>
                  <a:pt x="383616" y="290960"/>
                </a:cubicBezTo>
                <a:cubicBezTo>
                  <a:pt x="389142" y="287007"/>
                  <a:pt x="395778" y="284849"/>
                  <a:pt x="402601" y="284784"/>
                </a:cubicBezTo>
                <a:cubicBezTo>
                  <a:pt x="409426" y="284719"/>
                  <a:pt x="416102" y="286748"/>
                  <a:pt x="421706" y="290593"/>
                </a:cubicBezTo>
                <a:cubicBezTo>
                  <a:pt x="427310" y="294437"/>
                  <a:pt x="431569" y="299907"/>
                  <a:pt x="433891" y="306245"/>
                </a:cubicBezTo>
                <a:lnTo>
                  <a:pt x="443371" y="335103"/>
                </a:lnTo>
                <a:cubicBezTo>
                  <a:pt x="445226" y="340513"/>
                  <a:pt x="448324" y="345425"/>
                  <a:pt x="452424" y="349452"/>
                </a:cubicBezTo>
                <a:cubicBezTo>
                  <a:pt x="456524" y="353482"/>
                  <a:pt x="461511" y="356518"/>
                  <a:pt x="466997" y="358325"/>
                </a:cubicBezTo>
                <a:lnTo>
                  <a:pt x="495579" y="367518"/>
                </a:lnTo>
                <a:cubicBezTo>
                  <a:pt x="502169" y="369552"/>
                  <a:pt x="507940" y="373585"/>
                  <a:pt x="512080" y="379044"/>
                </a:cubicBezTo>
                <a:cubicBezTo>
                  <a:pt x="516218" y="384499"/>
                  <a:pt x="518511" y="391107"/>
                  <a:pt x="518635" y="397923"/>
                </a:cubicBezTo>
                <a:cubicBezTo>
                  <a:pt x="518759" y="404742"/>
                  <a:pt x="516708" y="411424"/>
                  <a:pt x="512772" y="417028"/>
                </a:cubicBezTo>
                <a:cubicBezTo>
                  <a:pt x="508836" y="422629"/>
                  <a:pt x="503212" y="426864"/>
                  <a:pt x="496703" y="429132"/>
                </a:cubicBezTo>
                <a:lnTo>
                  <a:pt x="467487" y="438495"/>
                </a:lnTo>
                <a:cubicBezTo>
                  <a:pt x="462010" y="440339"/>
                  <a:pt x="457034" y="443395"/>
                  <a:pt x="452936" y="447431"/>
                </a:cubicBezTo>
                <a:cubicBezTo>
                  <a:pt x="448836" y="451495"/>
                  <a:pt x="445748" y="456444"/>
                  <a:pt x="443918" y="461888"/>
                </a:cubicBezTo>
                <a:lnTo>
                  <a:pt x="434640" y="490034"/>
                </a:lnTo>
                <a:cubicBezTo>
                  <a:pt x="432407" y="496589"/>
                  <a:pt x="428117" y="502272"/>
                  <a:pt x="422395" y="506256"/>
                </a:cubicBezTo>
                <a:cubicBezTo>
                  <a:pt x="416863" y="510183"/>
                  <a:pt x="410222" y="512295"/>
                  <a:pt x="403407" y="512289"/>
                </a:cubicBezTo>
                <a:cubicBezTo>
                  <a:pt x="396484" y="512289"/>
                  <a:pt x="389736" y="510126"/>
                  <a:pt x="384132" y="506114"/>
                </a:cubicBezTo>
                <a:close/>
              </a:path>
            </a:pathLst>
          </a:custGeom>
          <a:noFill/>
          <a:ln w="38100" cap="flat">
            <a:solidFill>
              <a:schemeClr val="tx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a:ea typeface="+mn-ea"/>
              <a:cs typeface="+mn-cs"/>
            </a:endParaRPr>
          </a:p>
        </p:txBody>
      </p:sp>
      <p:sp>
        <p:nvSpPr>
          <p:cNvPr id="39" name="Title 8">
            <a:extLst>
              <a:ext uri="{FF2B5EF4-FFF2-40B4-BE49-F238E27FC236}">
                <a16:creationId xmlns:a16="http://schemas.microsoft.com/office/drawing/2014/main" id="{0B2D82BC-67FD-CD39-7B68-92B6417543AA}"/>
              </a:ext>
            </a:extLst>
          </p:cNvPr>
          <p:cNvSpPr txBox="1">
            <a:spLocks/>
          </p:cNvSpPr>
          <p:nvPr/>
        </p:nvSpPr>
        <p:spPr>
          <a:xfrm>
            <a:off x="1934124" y="130565"/>
            <a:ext cx="8595872" cy="984885"/>
          </a:xfrm>
          <a:prstGeom prst="rect">
            <a:avLst/>
          </a:prstGeom>
          <a:noFill/>
          <a:ln>
            <a:noFill/>
            <a:prstDash/>
          </a:ln>
          <a:effectLst>
            <a:outerShdw blurRad="50800" dist="25400" dir="5400000" algn="ctr" rotWithShape="0">
              <a:srgbClr val="000000">
                <a:alpha val="13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914327"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0078D4"/>
                </a:solidFill>
                <a:effectLst/>
                <a:uLnTx/>
                <a:uFillTx/>
                <a:latin typeface="Segoe UI Semibold"/>
                <a:ea typeface="+mn-ea"/>
                <a:cs typeface="+mn-cs"/>
              </a:rPr>
              <a:t>Windows 11 Pro: </a:t>
            </a:r>
            <a:r>
              <a:rPr kumimoji="0" lang="en-US" sz="3200" b="0" i="0" u="none" strike="noStrike" kern="0" cap="none" spc="0" normalizeH="0" baseline="0" noProof="0" dirty="0">
                <a:ln>
                  <a:noFill/>
                </a:ln>
                <a:solidFill>
                  <a:srgbClr val="000000"/>
                </a:solidFill>
                <a:effectLst/>
                <a:uLnTx/>
                <a:uFillTx/>
                <a:latin typeface="Segoe UI Semibold"/>
                <a:ea typeface="+mn-ea"/>
                <a:cs typeface="+mn-cs"/>
              </a:rPr>
              <a:t>What can Windows 11 do for Your Business?</a:t>
            </a:r>
          </a:p>
        </p:txBody>
      </p:sp>
      <p:sp>
        <p:nvSpPr>
          <p:cNvPr id="2" name="TextBox 1">
            <a:extLst>
              <a:ext uri="{FF2B5EF4-FFF2-40B4-BE49-F238E27FC236}">
                <a16:creationId xmlns:a16="http://schemas.microsoft.com/office/drawing/2014/main" id="{FCAD7F98-F8AD-7825-5570-875A9F1C0EFF}"/>
              </a:ext>
            </a:extLst>
          </p:cNvPr>
          <p:cNvSpPr txBox="1"/>
          <p:nvPr/>
        </p:nvSpPr>
        <p:spPr>
          <a:xfrm>
            <a:off x="0" y="5776570"/>
            <a:ext cx="12192000"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4"/>
                </a:solidFill>
                <a:effectLst/>
                <a:uLnTx/>
                <a:uFillTx/>
                <a:latin typeface="Segoe UI"/>
                <a:ea typeface="+mn-ea"/>
                <a:cs typeface="+mn-cs"/>
                <a:hlinkClick r:id="rId4">
                  <a:extLst>
                    <a:ext uri="{A12FA001-AC4F-418D-AE19-62706E023703}">
                      <ahyp:hlinkClr xmlns:ahyp="http://schemas.microsoft.com/office/drawing/2018/hyperlinkcolor" val="tx"/>
                    </a:ext>
                  </a:extLst>
                </a:hlinkClick>
              </a:rPr>
              <a:t>Windows 11 Devices Calculator (totaleconomicimpact.com)</a:t>
            </a:r>
            <a:endParaRPr kumimoji="0" lang="en-US" sz="1400" b="0" i="0" u="none" strike="noStrike" kern="1200" cap="none" spc="0" normalizeH="0" baseline="0" noProof="0" dirty="0">
              <a:ln>
                <a:noFill/>
              </a:ln>
              <a:solidFill>
                <a:srgbClr val="0078D4"/>
              </a:solidFill>
              <a:effectLst/>
              <a:uLnTx/>
              <a:uFillTx/>
              <a:latin typeface="Segoe UI"/>
              <a:ea typeface="+mn-ea"/>
              <a:cs typeface="+mn-cs"/>
            </a:endParaRPr>
          </a:p>
        </p:txBody>
      </p:sp>
    </p:spTree>
    <p:extLst>
      <p:ext uri="{BB962C8B-B14F-4D97-AF65-F5344CB8AC3E}">
        <p14:creationId xmlns:p14="http://schemas.microsoft.com/office/powerpoint/2010/main" val="364103124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A10CE3-58DA-52B9-D311-ACDF203A62E7}"/>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FFEA20F6-41AE-2E47-EA37-246DCFED0CCD}"/>
              </a:ext>
            </a:extLst>
          </p:cNvPr>
          <p:cNvSpPr txBox="1">
            <a:spLocks/>
          </p:cNvSpPr>
          <p:nvPr/>
        </p:nvSpPr>
        <p:spPr>
          <a:xfrm>
            <a:off x="683794" y="2597832"/>
            <a:ext cx="3063688" cy="31216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3200" b="0" i="0" kern="1200">
                <a:solidFill>
                  <a:schemeClr val="tx1"/>
                </a:solidFill>
                <a:latin typeface="+mj-lt"/>
                <a:ea typeface="+mj-ea"/>
                <a:cs typeface="+mj-cs"/>
              </a:defRPr>
            </a:lvl1pPr>
          </a:lstStyle>
          <a:p>
            <a:pPr defTabSz="914327"/>
            <a:r>
              <a:rPr lang="en-GB" sz="1800" dirty="0">
                <a:solidFill>
                  <a:srgbClr val="000000">
                    <a:lumMod val="75000"/>
                    <a:lumOff val="25000"/>
                  </a:srgbClr>
                </a:solidFill>
                <a:latin typeface="Segoe UI"/>
              </a:rPr>
              <a:t>Windows 11</a:t>
            </a:r>
            <a:endParaRPr lang="en-US" sz="1800" dirty="0">
              <a:solidFill>
                <a:srgbClr val="000000">
                  <a:lumMod val="75000"/>
                  <a:lumOff val="25000"/>
                </a:srgbClr>
              </a:solidFill>
              <a:latin typeface="Segoe UI"/>
            </a:endParaRPr>
          </a:p>
        </p:txBody>
      </p:sp>
      <p:sp>
        <p:nvSpPr>
          <p:cNvPr id="3" name="Title 2">
            <a:extLst>
              <a:ext uri="{FF2B5EF4-FFF2-40B4-BE49-F238E27FC236}">
                <a16:creationId xmlns:a16="http://schemas.microsoft.com/office/drawing/2014/main" id="{25AA4B6D-AF9A-2619-9700-C28FD50DD304}"/>
              </a:ext>
            </a:extLst>
          </p:cNvPr>
          <p:cNvSpPr txBox="1">
            <a:spLocks/>
          </p:cNvSpPr>
          <p:nvPr/>
        </p:nvSpPr>
        <p:spPr>
          <a:xfrm>
            <a:off x="647700" y="2909998"/>
            <a:ext cx="3477260" cy="941798"/>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200" b="0" i="0" kern="1200">
                <a:solidFill>
                  <a:schemeClr val="bg1"/>
                </a:solidFill>
                <a:latin typeface="+mj-lt"/>
                <a:ea typeface="+mj-ea"/>
                <a:cs typeface="+mj-cs"/>
              </a:defRPr>
            </a:lvl1pPr>
          </a:lstStyle>
          <a:p>
            <a:pPr defTabSz="914327"/>
            <a:r>
              <a:rPr lang="en-GB" sz="4200" dirty="0">
                <a:solidFill>
                  <a:srgbClr val="000000">
                    <a:lumMod val="75000"/>
                    <a:lumOff val="25000"/>
                  </a:srgbClr>
                </a:solidFill>
                <a:latin typeface="Segoe UI Semibold"/>
              </a:rPr>
              <a:t>Hotpatch</a:t>
            </a:r>
          </a:p>
          <a:p>
            <a:pPr defTabSz="914327"/>
            <a:r>
              <a:rPr lang="en-GB" sz="1800" dirty="0">
                <a:solidFill>
                  <a:srgbClr val="000000">
                    <a:lumMod val="75000"/>
                    <a:lumOff val="25000"/>
                  </a:srgbClr>
                </a:solidFill>
                <a:latin typeface="Segoe UI" panose="020B0502040204020203" pitchFamily="34" charset="0"/>
                <a:cs typeface="Segoe UI" panose="020B0502040204020203" pitchFamily="34" charset="0"/>
              </a:rPr>
              <a:t>(WIP – public preview)</a:t>
            </a:r>
          </a:p>
        </p:txBody>
      </p:sp>
      <p:grpSp>
        <p:nvGrpSpPr>
          <p:cNvPr id="25" name="Group 24">
            <a:extLst>
              <a:ext uri="{FF2B5EF4-FFF2-40B4-BE49-F238E27FC236}">
                <a16:creationId xmlns:a16="http://schemas.microsoft.com/office/drawing/2014/main" id="{EAF06B3E-DEAF-9098-6D04-1BF884AA8D55}"/>
              </a:ext>
            </a:extLst>
          </p:cNvPr>
          <p:cNvGrpSpPr/>
          <p:nvPr/>
        </p:nvGrpSpPr>
        <p:grpSpPr>
          <a:xfrm>
            <a:off x="5167721" y="1963715"/>
            <a:ext cx="6461572" cy="1195125"/>
            <a:chOff x="5167721" y="281680"/>
            <a:chExt cx="6461572" cy="1195125"/>
          </a:xfrm>
        </p:grpSpPr>
        <p:sp>
          <p:nvSpPr>
            <p:cNvPr id="4" name="Text Placeholder 3">
              <a:extLst>
                <a:ext uri="{FF2B5EF4-FFF2-40B4-BE49-F238E27FC236}">
                  <a16:creationId xmlns:a16="http://schemas.microsoft.com/office/drawing/2014/main" id="{1FC2F679-6D91-7291-5F88-4F28596D0162}"/>
                </a:ext>
              </a:extLst>
            </p:cNvPr>
            <p:cNvSpPr txBox="1">
              <a:spLocks/>
            </p:cNvSpPr>
            <p:nvPr/>
          </p:nvSpPr>
          <p:spPr>
            <a:xfrm>
              <a:off x="5452526" y="693154"/>
              <a:ext cx="6176767" cy="78365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2386" indent="-112386" defTabSz="914327">
                <a:lnSpc>
                  <a:spcPct val="100000"/>
                </a:lnSpc>
                <a:spcBef>
                  <a:spcPts val="0"/>
                </a:spcBef>
                <a:spcAft>
                  <a:spcPts val="600"/>
                </a:spcAft>
              </a:pPr>
              <a:r>
                <a:rPr lang="en-US" sz="1400" dirty="0">
                  <a:solidFill>
                    <a:srgbClr val="000000"/>
                  </a:solidFill>
                  <a:latin typeface="Segoe UI"/>
                  <a:ea typeface="Calibri" panose="020F0502020204030204" pitchFamily="34" charset="0"/>
                  <a:cs typeface="Times New Roman"/>
                </a:rPr>
                <a:t>Allows your enterprise to deploy security updates on day 1</a:t>
              </a:r>
            </a:p>
            <a:p>
              <a:pPr marL="112386" indent="-112386" defTabSz="914327">
                <a:lnSpc>
                  <a:spcPct val="100000"/>
                </a:lnSpc>
                <a:spcBef>
                  <a:spcPts val="0"/>
                </a:spcBef>
                <a:spcAft>
                  <a:spcPts val="600"/>
                </a:spcAft>
              </a:pPr>
              <a:r>
                <a:rPr lang="en-US" sz="1400" dirty="0">
                  <a:solidFill>
                    <a:srgbClr val="000000"/>
                  </a:solidFill>
                  <a:latin typeface="Segoe UI"/>
                  <a:ea typeface="Calibri" panose="020F0502020204030204" pitchFamily="34" charset="0"/>
                  <a:cs typeface="Times New Roman"/>
                </a:rPr>
                <a:t>Users maintain productivity and security without the need for a device restart</a:t>
              </a:r>
            </a:p>
          </p:txBody>
        </p:sp>
        <p:sp>
          <p:nvSpPr>
            <p:cNvPr id="5" name="Text Placeholder 7">
              <a:extLst>
                <a:ext uri="{FF2B5EF4-FFF2-40B4-BE49-F238E27FC236}">
                  <a16:creationId xmlns:a16="http://schemas.microsoft.com/office/drawing/2014/main" id="{5017A321-3399-D628-E5AD-9FD50FD6512A}"/>
                </a:ext>
              </a:extLst>
            </p:cNvPr>
            <p:cNvSpPr txBox="1">
              <a:spLocks/>
            </p:cNvSpPr>
            <p:nvPr/>
          </p:nvSpPr>
          <p:spPr>
            <a:xfrm>
              <a:off x="5452523" y="281680"/>
              <a:ext cx="5673673" cy="365756"/>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18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27">
                <a:buClr>
                  <a:srgbClr val="F2F2F2">
                    <a:lumMod val="90000"/>
                  </a:srgbClr>
                </a:buClr>
                <a:buSzPct val="150000"/>
                <a:buNone/>
                <a:defRPr/>
              </a:pPr>
              <a:r>
                <a:rPr lang="en-US" dirty="0">
                  <a:solidFill>
                    <a:srgbClr val="0078D4"/>
                  </a:solidFill>
                  <a:latin typeface="Segoe UI Semibold"/>
                  <a:cs typeface="Segoe UI Semibold"/>
                </a:rPr>
                <a:t>Benefits of </a:t>
              </a:r>
              <a:r>
                <a:rPr lang="en-US" dirty="0" err="1">
                  <a:solidFill>
                    <a:srgbClr val="0078D4"/>
                  </a:solidFill>
                  <a:latin typeface="Segoe UI Semibold"/>
                  <a:cs typeface="Segoe UI Semibold"/>
                </a:rPr>
                <a:t>hotpatch</a:t>
              </a:r>
              <a:r>
                <a:rPr lang="en-US" dirty="0">
                  <a:solidFill>
                    <a:srgbClr val="0078D4"/>
                  </a:solidFill>
                  <a:latin typeface="Segoe UI Semibold"/>
                  <a:cs typeface="Segoe UI Semibold"/>
                </a:rPr>
                <a:t> updates</a:t>
              </a:r>
              <a:endParaRPr lang="en-US" dirty="0">
                <a:solidFill>
                  <a:srgbClr val="0078D4"/>
                </a:solidFill>
                <a:latin typeface="Segoe UI Semibold"/>
              </a:endParaRPr>
            </a:p>
          </p:txBody>
        </p:sp>
        <p:grpSp>
          <p:nvGrpSpPr>
            <p:cNvPr id="8" name="Group 7">
              <a:extLst>
                <a:ext uri="{FF2B5EF4-FFF2-40B4-BE49-F238E27FC236}">
                  <a16:creationId xmlns:a16="http://schemas.microsoft.com/office/drawing/2014/main" id="{BB3A41B4-EFE7-40F2-7535-F900FD3DCA47}"/>
                </a:ext>
              </a:extLst>
            </p:cNvPr>
            <p:cNvGrpSpPr/>
            <p:nvPr/>
          </p:nvGrpSpPr>
          <p:grpSpPr>
            <a:xfrm>
              <a:off x="5167721" y="327397"/>
              <a:ext cx="274320" cy="274320"/>
              <a:chOff x="765413" y="2512894"/>
              <a:chExt cx="411480" cy="411480"/>
            </a:xfrm>
          </p:grpSpPr>
          <p:sp>
            <p:nvSpPr>
              <p:cNvPr id="9" name="Oval 8">
                <a:extLst>
                  <a:ext uri="{FF2B5EF4-FFF2-40B4-BE49-F238E27FC236}">
                    <a16:creationId xmlns:a16="http://schemas.microsoft.com/office/drawing/2014/main" id="{1EB6BF60-68F7-D903-F52B-3AD9D6760863}"/>
                  </a:ext>
                </a:extLst>
              </p:cNvPr>
              <p:cNvSpPr/>
              <p:nvPr/>
            </p:nvSpPr>
            <p:spPr>
              <a:xfrm>
                <a:off x="765413" y="2512894"/>
                <a:ext cx="411480" cy="411480"/>
              </a:xfrm>
              <a:prstGeom prst="ellipse">
                <a:avLst/>
              </a:prstGeom>
              <a:no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27">
                  <a:defRPr/>
                </a:pPr>
                <a:endParaRPr lang="en-US">
                  <a:solidFill>
                    <a:srgbClr val="000000"/>
                  </a:solidFill>
                  <a:latin typeface="Segoe UI"/>
                </a:endParaRPr>
              </a:p>
            </p:txBody>
          </p:sp>
          <p:pic>
            <p:nvPicPr>
              <p:cNvPr id="10" name="Graphic 9" descr="Checkmark with solid fill">
                <a:extLst>
                  <a:ext uri="{FF2B5EF4-FFF2-40B4-BE49-F238E27FC236}">
                    <a16:creationId xmlns:a16="http://schemas.microsoft.com/office/drawing/2014/main" id="{1E2DB5C2-010D-3687-D003-16770DC0E0DA}"/>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8129" y="2600122"/>
                <a:ext cx="233733" cy="233733"/>
              </a:xfrm>
              <a:prstGeom prst="rect">
                <a:avLst/>
              </a:prstGeom>
            </p:spPr>
          </p:pic>
        </p:grpSp>
      </p:grpSp>
      <p:grpSp>
        <p:nvGrpSpPr>
          <p:cNvPr id="26" name="Group 25">
            <a:extLst>
              <a:ext uri="{FF2B5EF4-FFF2-40B4-BE49-F238E27FC236}">
                <a16:creationId xmlns:a16="http://schemas.microsoft.com/office/drawing/2014/main" id="{8AA68BA4-5E16-4360-1924-726192F0482E}"/>
              </a:ext>
            </a:extLst>
          </p:cNvPr>
          <p:cNvGrpSpPr/>
          <p:nvPr/>
        </p:nvGrpSpPr>
        <p:grpSpPr>
          <a:xfrm>
            <a:off x="5178203" y="3468181"/>
            <a:ext cx="6527290" cy="1471757"/>
            <a:chOff x="5178203" y="2523583"/>
            <a:chExt cx="6527290" cy="1471757"/>
          </a:xfrm>
        </p:grpSpPr>
        <p:sp>
          <p:nvSpPr>
            <p:cNvPr id="6" name="Text Placeholder 6">
              <a:extLst>
                <a:ext uri="{FF2B5EF4-FFF2-40B4-BE49-F238E27FC236}">
                  <a16:creationId xmlns:a16="http://schemas.microsoft.com/office/drawing/2014/main" id="{05E53D6C-42D6-FBC0-4415-267318494A7E}"/>
                </a:ext>
              </a:extLst>
            </p:cNvPr>
            <p:cNvSpPr txBox="1">
              <a:spLocks/>
            </p:cNvSpPr>
            <p:nvPr/>
          </p:nvSpPr>
          <p:spPr>
            <a:xfrm>
              <a:off x="5452523" y="2523583"/>
              <a:ext cx="5783242" cy="365756"/>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18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27">
                <a:lnSpc>
                  <a:spcPct val="100000"/>
                </a:lnSpc>
                <a:buClr>
                  <a:srgbClr val="0078D4"/>
                </a:buClr>
                <a:buSzPct val="150000"/>
                <a:buNone/>
                <a:defRPr/>
              </a:pPr>
              <a:r>
                <a:rPr lang="en-US" dirty="0">
                  <a:solidFill>
                    <a:srgbClr val="0078D4"/>
                  </a:solidFill>
                  <a:latin typeface="Segoe UI Semibold"/>
                </a:rPr>
                <a:t>Requirements</a:t>
              </a:r>
              <a:endParaRPr lang="en-US" dirty="0">
                <a:solidFill>
                  <a:srgbClr val="0078D4"/>
                </a:solidFill>
                <a:latin typeface="Segoe UI"/>
              </a:endParaRPr>
            </a:p>
          </p:txBody>
        </p:sp>
        <p:sp>
          <p:nvSpPr>
            <p:cNvPr id="7" name="Text Placeholder 8">
              <a:extLst>
                <a:ext uri="{FF2B5EF4-FFF2-40B4-BE49-F238E27FC236}">
                  <a16:creationId xmlns:a16="http://schemas.microsoft.com/office/drawing/2014/main" id="{CA63EAE8-6962-0FE4-5148-BDAE2086D347}"/>
                </a:ext>
              </a:extLst>
            </p:cNvPr>
            <p:cNvSpPr txBox="1">
              <a:spLocks/>
            </p:cNvSpPr>
            <p:nvPr/>
          </p:nvSpPr>
          <p:spPr>
            <a:xfrm>
              <a:off x="5452526" y="2888706"/>
              <a:ext cx="6252967" cy="1106634"/>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18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2386" indent="-112386" defTabSz="914327">
                <a:lnSpc>
                  <a:spcPct val="100000"/>
                </a:lnSpc>
                <a:spcBef>
                  <a:spcPts val="0"/>
                </a:spcBef>
                <a:spcAft>
                  <a:spcPts val="600"/>
                </a:spcAft>
              </a:pPr>
              <a:r>
                <a:rPr lang="en-US" sz="1400" dirty="0">
                  <a:solidFill>
                    <a:srgbClr val="000000"/>
                  </a:solidFill>
                  <a:latin typeface="Segoe UI"/>
                  <a:ea typeface="Calibri" panose="020F0502020204030204" pitchFamily="34" charset="0"/>
                  <a:cs typeface="Times New Roman"/>
                </a:rPr>
                <a:t>Windows 11 Enterprise, version 24H2</a:t>
              </a:r>
            </a:p>
            <a:p>
              <a:pPr marL="112386" indent="-112386" defTabSz="914327">
                <a:lnSpc>
                  <a:spcPct val="100000"/>
                </a:lnSpc>
                <a:spcBef>
                  <a:spcPts val="0"/>
                </a:spcBef>
                <a:spcAft>
                  <a:spcPts val="600"/>
                </a:spcAft>
              </a:pPr>
              <a:r>
                <a:rPr lang="en-US" sz="1400" dirty="0">
                  <a:solidFill>
                    <a:srgbClr val="000000"/>
                  </a:solidFill>
                  <a:latin typeface="Segoe UI"/>
                  <a:ea typeface="Calibri" panose="020F0502020204030204" pitchFamily="34" charset="0"/>
                  <a:cs typeface="Times New Roman"/>
                </a:rPr>
                <a:t>Microsoft Enterprise subscription (E3/E5, A3/A5, F3) or Windows 365 subscription</a:t>
              </a:r>
            </a:p>
            <a:p>
              <a:pPr marL="112386" indent="-112386" defTabSz="914327">
                <a:lnSpc>
                  <a:spcPct val="100000"/>
                </a:lnSpc>
                <a:spcBef>
                  <a:spcPts val="0"/>
                </a:spcBef>
                <a:spcAft>
                  <a:spcPts val="600"/>
                </a:spcAft>
              </a:pPr>
              <a:r>
                <a:rPr lang="en-US" sz="1400" dirty="0">
                  <a:solidFill>
                    <a:srgbClr val="000000"/>
                  </a:solidFill>
                  <a:latin typeface="Segoe UI"/>
                  <a:ea typeface="Calibri" panose="020F0502020204030204" pitchFamily="34" charset="0"/>
                  <a:cs typeface="Times New Roman"/>
                </a:rPr>
                <a:t>Microsoft Intune</a:t>
              </a:r>
            </a:p>
          </p:txBody>
        </p:sp>
        <p:grpSp>
          <p:nvGrpSpPr>
            <p:cNvPr id="11" name="Group 10">
              <a:extLst>
                <a:ext uri="{FF2B5EF4-FFF2-40B4-BE49-F238E27FC236}">
                  <a16:creationId xmlns:a16="http://schemas.microsoft.com/office/drawing/2014/main" id="{481F8774-64C7-80B3-F68D-65081D288C67}"/>
                </a:ext>
              </a:extLst>
            </p:cNvPr>
            <p:cNvGrpSpPr/>
            <p:nvPr/>
          </p:nvGrpSpPr>
          <p:grpSpPr>
            <a:xfrm>
              <a:off x="5178203" y="2569299"/>
              <a:ext cx="274320" cy="274320"/>
              <a:chOff x="765413" y="2512894"/>
              <a:chExt cx="411480" cy="411480"/>
            </a:xfrm>
          </p:grpSpPr>
          <p:sp>
            <p:nvSpPr>
              <p:cNvPr id="12" name="Oval 11">
                <a:extLst>
                  <a:ext uri="{FF2B5EF4-FFF2-40B4-BE49-F238E27FC236}">
                    <a16:creationId xmlns:a16="http://schemas.microsoft.com/office/drawing/2014/main" id="{3B3D2FF7-0A6C-40E4-D615-039ACF933E48}"/>
                  </a:ext>
                </a:extLst>
              </p:cNvPr>
              <p:cNvSpPr/>
              <p:nvPr/>
            </p:nvSpPr>
            <p:spPr>
              <a:xfrm>
                <a:off x="765413" y="2512894"/>
                <a:ext cx="411480" cy="411480"/>
              </a:xfrm>
              <a:prstGeom prst="ellipse">
                <a:avLst/>
              </a:prstGeom>
              <a:no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27">
                  <a:defRPr/>
                </a:pPr>
                <a:endParaRPr lang="en-US">
                  <a:solidFill>
                    <a:srgbClr val="000000"/>
                  </a:solidFill>
                  <a:latin typeface="Segoe UI"/>
                </a:endParaRPr>
              </a:p>
            </p:txBody>
          </p:sp>
          <p:pic>
            <p:nvPicPr>
              <p:cNvPr id="13" name="Graphic 12" descr="Checkmark with solid fill">
                <a:extLst>
                  <a:ext uri="{FF2B5EF4-FFF2-40B4-BE49-F238E27FC236}">
                    <a16:creationId xmlns:a16="http://schemas.microsoft.com/office/drawing/2014/main" id="{37BEC803-CFC8-FE19-6069-3EA73299C5B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8129" y="2600122"/>
                <a:ext cx="233733" cy="233733"/>
              </a:xfrm>
              <a:prstGeom prst="rect">
                <a:avLst/>
              </a:prstGeom>
            </p:spPr>
          </p:pic>
        </p:grpSp>
      </p:grpSp>
      <p:grpSp>
        <p:nvGrpSpPr>
          <p:cNvPr id="27" name="Group 26">
            <a:extLst>
              <a:ext uri="{FF2B5EF4-FFF2-40B4-BE49-F238E27FC236}">
                <a16:creationId xmlns:a16="http://schemas.microsoft.com/office/drawing/2014/main" id="{E57F250E-6243-BD31-2159-E384A3FDE71E}"/>
              </a:ext>
            </a:extLst>
          </p:cNvPr>
          <p:cNvGrpSpPr/>
          <p:nvPr/>
        </p:nvGrpSpPr>
        <p:grpSpPr>
          <a:xfrm>
            <a:off x="5178202" y="5249279"/>
            <a:ext cx="6527288" cy="1299382"/>
            <a:chOff x="5178202" y="4213621"/>
            <a:chExt cx="6527288" cy="1299382"/>
          </a:xfrm>
        </p:grpSpPr>
        <p:sp>
          <p:nvSpPr>
            <p:cNvPr id="20" name="Text Placeholder 6">
              <a:extLst>
                <a:ext uri="{FF2B5EF4-FFF2-40B4-BE49-F238E27FC236}">
                  <a16:creationId xmlns:a16="http://schemas.microsoft.com/office/drawing/2014/main" id="{BAE61FA9-5C9C-DEA7-09C1-F589439D353B}"/>
                </a:ext>
              </a:extLst>
            </p:cNvPr>
            <p:cNvSpPr txBox="1">
              <a:spLocks/>
            </p:cNvSpPr>
            <p:nvPr/>
          </p:nvSpPr>
          <p:spPr>
            <a:xfrm>
              <a:off x="5452522" y="4213621"/>
              <a:ext cx="5783242" cy="365756"/>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18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27">
                <a:lnSpc>
                  <a:spcPct val="100000"/>
                </a:lnSpc>
                <a:buClr>
                  <a:srgbClr val="0078D4"/>
                </a:buClr>
                <a:buSzPct val="150000"/>
                <a:buNone/>
                <a:defRPr/>
              </a:pPr>
              <a:r>
                <a:rPr lang="en-US" dirty="0">
                  <a:solidFill>
                    <a:srgbClr val="0078D4"/>
                  </a:solidFill>
                  <a:latin typeface="Segoe UI Semibold"/>
                </a:rPr>
                <a:t>Details</a:t>
              </a:r>
              <a:endParaRPr lang="en-US" dirty="0">
                <a:solidFill>
                  <a:srgbClr val="0078D4"/>
                </a:solidFill>
                <a:latin typeface="Segoe UI"/>
              </a:endParaRPr>
            </a:p>
          </p:txBody>
        </p:sp>
        <p:sp>
          <p:nvSpPr>
            <p:cNvPr id="21" name="Text Placeholder 8">
              <a:extLst>
                <a:ext uri="{FF2B5EF4-FFF2-40B4-BE49-F238E27FC236}">
                  <a16:creationId xmlns:a16="http://schemas.microsoft.com/office/drawing/2014/main" id="{7E616298-F4EF-AF1F-B574-D3E3E7356D87}"/>
                </a:ext>
              </a:extLst>
            </p:cNvPr>
            <p:cNvSpPr txBox="1">
              <a:spLocks/>
            </p:cNvSpPr>
            <p:nvPr/>
          </p:nvSpPr>
          <p:spPr>
            <a:xfrm>
              <a:off x="5452523" y="4613727"/>
              <a:ext cx="6252967" cy="899276"/>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18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2386" indent="-112386" defTabSz="914327">
                <a:lnSpc>
                  <a:spcPct val="100000"/>
                </a:lnSpc>
                <a:spcBef>
                  <a:spcPts val="0"/>
                </a:spcBef>
                <a:spcAft>
                  <a:spcPts val="600"/>
                </a:spcAft>
              </a:pPr>
              <a:r>
                <a:rPr lang="en-US" sz="1400" dirty="0">
                  <a:solidFill>
                    <a:srgbClr val="000000"/>
                  </a:solidFill>
                  <a:latin typeface="Segoe UI"/>
                  <a:ea typeface="Calibri" panose="020F0502020204030204" pitchFamily="34" charset="0"/>
                  <a:cs typeface="Times New Roman"/>
                </a:rPr>
                <a:t>First month of each calendar quarter devices will install normal cumulative update (security and feature update) which requires a restart</a:t>
              </a:r>
            </a:p>
            <a:p>
              <a:pPr marL="112386" indent="-112386" defTabSz="914327">
                <a:lnSpc>
                  <a:spcPct val="100000"/>
                </a:lnSpc>
                <a:spcBef>
                  <a:spcPts val="0"/>
                </a:spcBef>
                <a:spcAft>
                  <a:spcPts val="600"/>
                </a:spcAft>
              </a:pPr>
              <a:r>
                <a:rPr lang="en-US" sz="1400" dirty="0">
                  <a:solidFill>
                    <a:srgbClr val="000000"/>
                  </a:solidFill>
                  <a:latin typeface="Segoe UI"/>
                  <a:ea typeface="Calibri" panose="020F0502020204030204" pitchFamily="34" charset="0"/>
                  <a:cs typeface="Times New Roman"/>
                </a:rPr>
                <a:t>Second and third month will only be </a:t>
              </a:r>
              <a:r>
                <a:rPr lang="en-US" sz="1400" dirty="0" err="1">
                  <a:solidFill>
                    <a:srgbClr val="000000"/>
                  </a:solidFill>
                  <a:latin typeface="Segoe UI"/>
                  <a:ea typeface="Calibri" panose="020F0502020204030204" pitchFamily="34" charset="0"/>
                  <a:cs typeface="Times New Roman"/>
                </a:rPr>
                <a:t>hotpatch</a:t>
              </a:r>
              <a:r>
                <a:rPr lang="en-US" sz="1400" dirty="0">
                  <a:solidFill>
                    <a:srgbClr val="000000"/>
                  </a:solidFill>
                  <a:latin typeface="Segoe UI"/>
                  <a:ea typeface="Calibri" panose="020F0502020204030204" pitchFamily="34" charset="0"/>
                  <a:cs typeface="Times New Roman"/>
                </a:rPr>
                <a:t> security updates</a:t>
              </a:r>
            </a:p>
            <a:p>
              <a:pPr marL="112386" indent="-112386" defTabSz="914327">
                <a:lnSpc>
                  <a:spcPct val="100000"/>
                </a:lnSpc>
                <a:spcBef>
                  <a:spcPts val="0"/>
                </a:spcBef>
                <a:spcAft>
                  <a:spcPts val="600"/>
                </a:spcAft>
              </a:pPr>
              <a:endParaRPr lang="en-US" sz="1200" dirty="0">
                <a:solidFill>
                  <a:srgbClr val="000000"/>
                </a:solidFill>
                <a:latin typeface="Segoe UI"/>
                <a:ea typeface="Calibri" panose="020F0502020204030204" pitchFamily="34" charset="0"/>
                <a:cs typeface="Times New Roman"/>
              </a:endParaRPr>
            </a:p>
          </p:txBody>
        </p:sp>
        <p:grpSp>
          <p:nvGrpSpPr>
            <p:cNvPr id="22" name="Group 21">
              <a:extLst>
                <a:ext uri="{FF2B5EF4-FFF2-40B4-BE49-F238E27FC236}">
                  <a16:creationId xmlns:a16="http://schemas.microsoft.com/office/drawing/2014/main" id="{CF3CF022-BCC7-BFCE-29E5-4D4F766EAC91}"/>
                </a:ext>
              </a:extLst>
            </p:cNvPr>
            <p:cNvGrpSpPr/>
            <p:nvPr/>
          </p:nvGrpSpPr>
          <p:grpSpPr>
            <a:xfrm>
              <a:off x="5178202" y="4259338"/>
              <a:ext cx="274320" cy="274320"/>
              <a:chOff x="765413" y="2512894"/>
              <a:chExt cx="411480" cy="411480"/>
            </a:xfrm>
          </p:grpSpPr>
          <p:sp>
            <p:nvSpPr>
              <p:cNvPr id="23" name="Oval 22">
                <a:extLst>
                  <a:ext uri="{FF2B5EF4-FFF2-40B4-BE49-F238E27FC236}">
                    <a16:creationId xmlns:a16="http://schemas.microsoft.com/office/drawing/2014/main" id="{DA99A9E0-1652-A27F-40C9-4D80F9482F08}"/>
                  </a:ext>
                </a:extLst>
              </p:cNvPr>
              <p:cNvSpPr/>
              <p:nvPr/>
            </p:nvSpPr>
            <p:spPr>
              <a:xfrm>
                <a:off x="765413" y="2512894"/>
                <a:ext cx="411480" cy="411480"/>
              </a:xfrm>
              <a:prstGeom prst="ellipse">
                <a:avLst/>
              </a:prstGeom>
              <a:no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27">
                  <a:defRPr/>
                </a:pPr>
                <a:endParaRPr lang="en-US">
                  <a:solidFill>
                    <a:srgbClr val="000000"/>
                  </a:solidFill>
                  <a:latin typeface="Segoe UI"/>
                </a:endParaRPr>
              </a:p>
            </p:txBody>
          </p:sp>
          <p:pic>
            <p:nvPicPr>
              <p:cNvPr id="24" name="Graphic 23" descr="Checkmark with solid fill">
                <a:extLst>
                  <a:ext uri="{FF2B5EF4-FFF2-40B4-BE49-F238E27FC236}">
                    <a16:creationId xmlns:a16="http://schemas.microsoft.com/office/drawing/2014/main" id="{9422B9CC-CBA3-4BC5-0930-2872EF59C518}"/>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8129" y="2600122"/>
                <a:ext cx="233733" cy="233733"/>
              </a:xfrm>
              <a:prstGeom prst="rect">
                <a:avLst/>
              </a:prstGeom>
            </p:spPr>
          </p:pic>
        </p:grpSp>
      </p:grpSp>
      <p:grpSp>
        <p:nvGrpSpPr>
          <p:cNvPr id="28" name="Group 27">
            <a:extLst>
              <a:ext uri="{FF2B5EF4-FFF2-40B4-BE49-F238E27FC236}">
                <a16:creationId xmlns:a16="http://schemas.microsoft.com/office/drawing/2014/main" id="{46E01A6F-444F-9F30-81B8-CE7ECAFEB525}"/>
              </a:ext>
            </a:extLst>
          </p:cNvPr>
          <p:cNvGrpSpPr/>
          <p:nvPr/>
        </p:nvGrpSpPr>
        <p:grpSpPr>
          <a:xfrm>
            <a:off x="5178202" y="309341"/>
            <a:ext cx="6461572" cy="1345033"/>
            <a:chOff x="5167721" y="281680"/>
            <a:chExt cx="6461572" cy="1345033"/>
          </a:xfrm>
        </p:grpSpPr>
        <p:sp>
          <p:nvSpPr>
            <p:cNvPr id="29" name="Text Placeholder 3">
              <a:extLst>
                <a:ext uri="{FF2B5EF4-FFF2-40B4-BE49-F238E27FC236}">
                  <a16:creationId xmlns:a16="http://schemas.microsoft.com/office/drawing/2014/main" id="{5287EB67-0488-BEF1-EB66-1E485968DD11}"/>
                </a:ext>
              </a:extLst>
            </p:cNvPr>
            <p:cNvSpPr txBox="1">
              <a:spLocks/>
            </p:cNvSpPr>
            <p:nvPr/>
          </p:nvSpPr>
          <p:spPr>
            <a:xfrm>
              <a:off x="5452526" y="693154"/>
              <a:ext cx="6176767" cy="933559"/>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2386" indent="-112386" defTabSz="914327">
                <a:lnSpc>
                  <a:spcPct val="100000"/>
                </a:lnSpc>
                <a:spcBef>
                  <a:spcPts val="0"/>
                </a:spcBef>
                <a:spcAft>
                  <a:spcPts val="600"/>
                </a:spcAft>
              </a:pPr>
              <a:r>
                <a:rPr lang="en-US" sz="1400" dirty="0">
                  <a:solidFill>
                    <a:srgbClr val="000000"/>
                  </a:solidFill>
                  <a:latin typeface="Segoe UI"/>
                  <a:ea typeface="Calibri" panose="020F0502020204030204" pitchFamily="34" charset="0"/>
                  <a:cs typeface="Times New Roman"/>
                </a:rPr>
                <a:t>Monthly OS security updates with no additional features</a:t>
              </a:r>
            </a:p>
            <a:p>
              <a:pPr marL="112386" indent="-112386" defTabSz="914327">
                <a:lnSpc>
                  <a:spcPct val="100000"/>
                </a:lnSpc>
                <a:spcBef>
                  <a:spcPts val="0"/>
                </a:spcBef>
                <a:spcAft>
                  <a:spcPts val="600"/>
                </a:spcAft>
              </a:pPr>
              <a:r>
                <a:rPr lang="en-US" sz="1400" dirty="0">
                  <a:solidFill>
                    <a:srgbClr val="000000"/>
                  </a:solidFill>
                  <a:latin typeface="Segoe UI"/>
                  <a:ea typeface="Calibri" panose="020F0502020204030204" pitchFamily="34" charset="0"/>
                  <a:cs typeface="Times New Roman"/>
                </a:rPr>
                <a:t>No reboot required at the endpoint- they take effect immediately</a:t>
              </a:r>
            </a:p>
            <a:p>
              <a:pPr marL="112386" indent="-112386" defTabSz="914327">
                <a:lnSpc>
                  <a:spcPct val="100000"/>
                </a:lnSpc>
                <a:spcBef>
                  <a:spcPts val="0"/>
                </a:spcBef>
                <a:spcAft>
                  <a:spcPts val="600"/>
                </a:spcAft>
              </a:pPr>
              <a:r>
                <a:rPr lang="en-US" sz="1400" dirty="0">
                  <a:solidFill>
                    <a:srgbClr val="000000"/>
                  </a:solidFill>
                  <a:latin typeface="Segoe UI"/>
                  <a:ea typeface="Calibri" panose="020F0502020204030204" pitchFamily="34" charset="0"/>
                  <a:cs typeface="Times New Roman"/>
                </a:rPr>
                <a:t>Proven, two-year record on Windows Server</a:t>
              </a:r>
            </a:p>
          </p:txBody>
        </p:sp>
        <p:sp>
          <p:nvSpPr>
            <p:cNvPr id="30" name="Text Placeholder 7">
              <a:extLst>
                <a:ext uri="{FF2B5EF4-FFF2-40B4-BE49-F238E27FC236}">
                  <a16:creationId xmlns:a16="http://schemas.microsoft.com/office/drawing/2014/main" id="{3A0B43CB-C2C0-775F-7152-4E02D48F345C}"/>
                </a:ext>
              </a:extLst>
            </p:cNvPr>
            <p:cNvSpPr txBox="1">
              <a:spLocks/>
            </p:cNvSpPr>
            <p:nvPr/>
          </p:nvSpPr>
          <p:spPr>
            <a:xfrm>
              <a:off x="5452523" y="281680"/>
              <a:ext cx="5673673" cy="365756"/>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18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27">
                <a:buClr>
                  <a:srgbClr val="F2F2F2">
                    <a:lumMod val="90000"/>
                  </a:srgbClr>
                </a:buClr>
                <a:buSzPct val="150000"/>
                <a:buNone/>
                <a:defRPr/>
              </a:pPr>
              <a:r>
                <a:rPr lang="en-US" dirty="0">
                  <a:solidFill>
                    <a:srgbClr val="0078D4"/>
                  </a:solidFill>
                  <a:latin typeface="Segoe UI Semibold"/>
                  <a:cs typeface="Segoe UI Semibold"/>
                </a:rPr>
                <a:t>What is </a:t>
              </a:r>
              <a:r>
                <a:rPr lang="en-US" dirty="0" err="1">
                  <a:solidFill>
                    <a:srgbClr val="0078D4"/>
                  </a:solidFill>
                  <a:latin typeface="Segoe UI Semibold"/>
                  <a:cs typeface="Segoe UI Semibold"/>
                </a:rPr>
                <a:t>hotpatch</a:t>
              </a:r>
              <a:r>
                <a:rPr lang="en-US" dirty="0">
                  <a:solidFill>
                    <a:srgbClr val="0078D4"/>
                  </a:solidFill>
                  <a:latin typeface="Segoe UI Semibold"/>
                  <a:cs typeface="Segoe UI Semibold"/>
                </a:rPr>
                <a:t>?</a:t>
              </a:r>
              <a:endParaRPr lang="en-US" dirty="0">
                <a:solidFill>
                  <a:srgbClr val="0078D4"/>
                </a:solidFill>
                <a:latin typeface="Segoe UI Semibold"/>
              </a:endParaRPr>
            </a:p>
          </p:txBody>
        </p:sp>
        <p:grpSp>
          <p:nvGrpSpPr>
            <p:cNvPr id="31" name="Group 30">
              <a:extLst>
                <a:ext uri="{FF2B5EF4-FFF2-40B4-BE49-F238E27FC236}">
                  <a16:creationId xmlns:a16="http://schemas.microsoft.com/office/drawing/2014/main" id="{CD014090-260E-0296-D15D-1E5B78057203}"/>
                </a:ext>
              </a:extLst>
            </p:cNvPr>
            <p:cNvGrpSpPr/>
            <p:nvPr/>
          </p:nvGrpSpPr>
          <p:grpSpPr>
            <a:xfrm>
              <a:off x="5167721" y="327397"/>
              <a:ext cx="274320" cy="274320"/>
              <a:chOff x="765413" y="2512894"/>
              <a:chExt cx="411480" cy="411480"/>
            </a:xfrm>
          </p:grpSpPr>
          <p:sp>
            <p:nvSpPr>
              <p:cNvPr id="32" name="Oval 31">
                <a:extLst>
                  <a:ext uri="{FF2B5EF4-FFF2-40B4-BE49-F238E27FC236}">
                    <a16:creationId xmlns:a16="http://schemas.microsoft.com/office/drawing/2014/main" id="{DBDDEAE2-0540-7DD1-1DAE-FB64661A58C4}"/>
                  </a:ext>
                </a:extLst>
              </p:cNvPr>
              <p:cNvSpPr/>
              <p:nvPr/>
            </p:nvSpPr>
            <p:spPr>
              <a:xfrm>
                <a:off x="765413" y="2512894"/>
                <a:ext cx="411480" cy="411480"/>
              </a:xfrm>
              <a:prstGeom prst="ellipse">
                <a:avLst/>
              </a:prstGeom>
              <a:no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27">
                  <a:defRPr/>
                </a:pPr>
                <a:endParaRPr lang="en-US">
                  <a:solidFill>
                    <a:srgbClr val="000000"/>
                  </a:solidFill>
                  <a:latin typeface="Segoe UI"/>
                </a:endParaRPr>
              </a:p>
            </p:txBody>
          </p:sp>
          <p:pic>
            <p:nvPicPr>
              <p:cNvPr id="33" name="Graphic 32" descr="Checkmark with solid fill">
                <a:extLst>
                  <a:ext uri="{FF2B5EF4-FFF2-40B4-BE49-F238E27FC236}">
                    <a16:creationId xmlns:a16="http://schemas.microsoft.com/office/drawing/2014/main" id="{2045761B-3906-17FD-B61E-AD25DE5B4AE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8129" y="2600122"/>
                <a:ext cx="233733" cy="233733"/>
              </a:xfrm>
              <a:prstGeom prst="rect">
                <a:avLst/>
              </a:prstGeom>
            </p:spPr>
          </p:pic>
        </p:grpSp>
      </p:grpSp>
      <p:sp>
        <p:nvSpPr>
          <p:cNvPr id="34" name="TextBox 33">
            <a:extLst>
              <a:ext uri="{FF2B5EF4-FFF2-40B4-BE49-F238E27FC236}">
                <a16:creationId xmlns:a16="http://schemas.microsoft.com/office/drawing/2014/main" id="{D0CCC40D-41CB-E0DD-E6A4-DDC6488C5B60}"/>
              </a:ext>
            </a:extLst>
          </p:cNvPr>
          <p:cNvSpPr txBox="1"/>
          <p:nvPr/>
        </p:nvSpPr>
        <p:spPr>
          <a:xfrm>
            <a:off x="1771578" y="6640884"/>
            <a:ext cx="1229504" cy="161583"/>
          </a:xfrm>
          <a:prstGeom prst="rect">
            <a:avLst/>
          </a:prstGeom>
          <a:noFill/>
        </p:spPr>
        <p:txBody>
          <a:bodyPr wrap="none" lIns="0" tIns="0" rIns="0" bIns="0" rtlCol="0">
            <a:spAutoFit/>
          </a:bodyPr>
          <a:lstStyle/>
          <a:p>
            <a:pPr algn="l"/>
            <a:r>
              <a:rPr lang="en-US" sz="1050" dirty="0">
                <a:gradFill>
                  <a:gsLst>
                    <a:gs pos="2917">
                      <a:schemeClr val="tx1"/>
                    </a:gs>
                    <a:gs pos="30000">
                      <a:schemeClr val="tx1"/>
                    </a:gs>
                  </a:gsLst>
                  <a:lin ang="5400000" scaled="0"/>
                </a:gradFill>
                <a:hlinkClick r:id="rId4"/>
              </a:rPr>
              <a:t>Windows IT Pro Blog</a:t>
            </a:r>
            <a:endParaRPr lang="en-US" sz="105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1482925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MM_SLIDE_TYPE" val="6"/>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6_Windows Pro Template 2022">
  <a:themeElements>
    <a:clrScheme name="Personnalisé 1">
      <a:dk1>
        <a:srgbClr val="000000"/>
      </a:dk1>
      <a:lt1>
        <a:srgbClr val="FFFFFF"/>
      </a:lt1>
      <a:dk2>
        <a:srgbClr val="243A5E"/>
      </a:dk2>
      <a:lt2>
        <a:srgbClr val="50E6FF"/>
      </a:lt2>
      <a:accent1>
        <a:srgbClr val="0078D4"/>
      </a:accent1>
      <a:accent2>
        <a:srgbClr val="D83B01"/>
      </a:accent2>
      <a:accent3>
        <a:srgbClr val="107C10"/>
      </a:accent3>
      <a:accent4>
        <a:srgbClr val="8661C5"/>
      </a:accent4>
      <a:accent5>
        <a:srgbClr val="008575"/>
      </a:accent5>
      <a:accent6>
        <a:srgbClr val="FFB900"/>
      </a:accent6>
      <a:hlink>
        <a:srgbClr val="505050"/>
      </a:hlink>
      <a:folHlink>
        <a:srgbClr val="505050"/>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3175">
          <a:solidFill>
            <a:schemeClr val="bg1">
              <a:lumMod val="95000"/>
            </a:schemeClr>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indows 11 Pro Campaign_Monthly RoB -template" id="{3ACC8345-4058-4BCD-A822-69E600D19F48}" vid="{C6EEE763-FF08-4E2E-B607-451D99F34F8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AB3B4EAF656D04EABD4BA0E8D9CD9BA" ma:contentTypeVersion="18" ma:contentTypeDescription="Create a new document." ma:contentTypeScope="" ma:versionID="77d90bbcdd7e30819fb7e0d655de3a29">
  <xsd:schema xmlns:xsd="http://www.w3.org/2001/XMLSchema" xmlns:xs="http://www.w3.org/2001/XMLSchema" xmlns:p="http://schemas.microsoft.com/office/2006/metadata/properties" xmlns:ns1="http://schemas.microsoft.com/sharepoint/v3" xmlns:ns2="40735e4d-f83c-4bf9-8a65-9ae8d57aa316" xmlns:ns3="8b00f409-6a31-4e9b-ad79-21261496791a" targetNamespace="http://schemas.microsoft.com/office/2006/metadata/properties" ma:root="true" ma:fieldsID="f73196215ff3edee4199736c26c602c4" ns1:_="" ns2:_="" ns3:_="">
    <xsd:import namespace="http://schemas.microsoft.com/sharepoint/v3"/>
    <xsd:import namespace="40735e4d-f83c-4bf9-8a65-9ae8d57aa316"/>
    <xsd:import namespace="8b00f409-6a31-4e9b-ad79-21261496791a"/>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LengthInSeconds"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1:_ip_UnifiedCompliancePolicyProperties" minOccurs="0"/>
                <xsd:element ref="ns1:_ip_UnifiedCompliancePolicyUIAction" minOccurs="0"/>
                <xsd:element ref="ns3:MediaServiceLocation" minOccurs="0"/>
                <xsd:element ref="ns3:MediaServiceObjectDetectorVersions"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0735e4d-f83c-4bf9-8a65-9ae8d57aa316"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b00f409-6a31-4e9b-ad79-21261496791a"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LengthInSeconds" ma:index="12" nillable="true" ma:displayName="MediaLengthInSeconds" ma:hidden="true" ma:internalName="MediaLengthInSeconds" ma:readOnly="true">
      <xsd:simpleType>
        <xsd:restriction base="dms:Unknown"/>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2" nillable="true" ma:displayName="Location" ma:indexed="true" ma:internalName="MediaServiceLocation" ma:readOnly="true">
      <xsd:simpleType>
        <xsd:restriction base="dms:Text"/>
      </xsd:simple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A79427EA-A4B0-4E1B-91E7-1CDCBDF66393}">
  <ds:schemaRefs>
    <ds:schemaRef ds:uri="http://schemas.microsoft.com/sharepoint/v3/contenttype/forms"/>
  </ds:schemaRefs>
</ds:datastoreItem>
</file>

<file path=customXml/itemProps2.xml><?xml version="1.0" encoding="utf-8"?>
<ds:datastoreItem xmlns:ds="http://schemas.openxmlformats.org/officeDocument/2006/customXml" ds:itemID="{B2401509-6D56-4C6F-B47B-3965A4D295E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0735e4d-f83c-4bf9-8a65-9ae8d57aa316"/>
    <ds:schemaRef ds:uri="8b00f409-6a31-4e9b-ad79-2126149679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FC439D5-7088-4B95-8CB4-BE3425764D8D}">
  <ds:schemaRefs>
    <ds:schemaRef ds:uri="http://schemas.microsoft.com/sharepoint/v3"/>
    <ds:schemaRef ds:uri="http://purl.org/dc/terms/"/>
    <ds:schemaRef ds:uri="40735e4d-f83c-4bf9-8a65-9ae8d57aa316"/>
    <ds:schemaRef ds:uri="http://schemas.microsoft.com/office/2006/documentManagement/types"/>
    <ds:schemaRef ds:uri="http://purl.org/dc/elements/1.1/"/>
    <ds:schemaRef ds:uri="8b00f409-6a31-4e9b-ad79-21261496791a"/>
    <ds:schemaRef ds:uri="http://www.w3.org/XML/1998/namespace"/>
    <ds:schemaRef ds:uri="http://purl.org/dc/dcmitype/"/>
    <ds:schemaRef ds:uri="http://schemas.microsoft.com/office/2006/metadata/properties"/>
    <ds:schemaRef ds:uri="http://schemas.microsoft.com/office/infopath/2007/PartnerControls"/>
    <ds:schemaRef ds:uri="http://schemas.openxmlformats.org/package/2006/metadata/core-properties"/>
  </ds:schemaRefs>
</ds:datastoreItem>
</file>

<file path=docMetadata/LabelInfo.xml><?xml version="1.0" encoding="utf-8"?>
<clbl:labelList xmlns:clbl="http://schemas.microsoft.com/office/2020/mipLabelMetadata">
  <clbl:label id="{12c8766a-1b4e-42b1-9f55-f3f7eec1e768}" enabled="0" method="" siteId="{12c8766a-1b4e-42b1-9f55-f3f7eec1e768}" removed="1"/>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267</TotalTime>
  <Words>651</Words>
  <Application>Microsoft Office PowerPoint</Application>
  <PresentationFormat>Widescreen</PresentationFormat>
  <Paragraphs>61</Paragraphs>
  <Slides>3</Slides>
  <Notes>1</Notes>
  <HiddenSlides>0</HiddenSlides>
  <MMClips>0</MMClips>
  <ScaleCrop>false</ScaleCrop>
  <HeadingPairs>
    <vt:vector size="4" baseType="variant">
      <vt:variant>
        <vt:lpstr>Theme</vt:lpstr>
      </vt:variant>
      <vt:variant>
        <vt:i4>2</vt:i4>
      </vt:variant>
      <vt:variant>
        <vt:lpstr>Slide Titles</vt:lpstr>
      </vt:variant>
      <vt:variant>
        <vt:i4>3</vt:i4>
      </vt:variant>
    </vt:vector>
  </HeadingPairs>
  <TitlesOfParts>
    <vt:vector size="5" baseType="lpstr">
      <vt:lpstr>Office Theme</vt:lpstr>
      <vt:lpstr>6_Windows Pro Template 2022</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cott Edwards</dc:creator>
  <cp:lastModifiedBy>Owen Stretch</cp:lastModifiedBy>
  <cp:revision>3</cp:revision>
  <dcterms:created xsi:type="dcterms:W3CDTF">2025-01-13T22:04:53Z</dcterms:created>
  <dcterms:modified xsi:type="dcterms:W3CDTF">2025-04-09T15:12: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AB3B4EAF656D04EABD4BA0E8D9CD9BA</vt:lpwstr>
  </property>
</Properties>
</file>